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comments/modernComment_124_F75DF882.xml" ContentType="application/vnd.ms-powerpoint.comment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0"/>
  </p:notesMasterIdLst>
  <p:sldIdLst>
    <p:sldId id="273" r:id="rId5"/>
    <p:sldId id="272" r:id="rId6"/>
    <p:sldId id="276" r:id="rId7"/>
    <p:sldId id="277" r:id="rId8"/>
    <p:sldId id="278" r:id="rId9"/>
    <p:sldId id="282" r:id="rId10"/>
    <p:sldId id="287" r:id="rId11"/>
    <p:sldId id="303" r:id="rId12"/>
    <p:sldId id="289" r:id="rId13"/>
    <p:sldId id="290" r:id="rId14"/>
    <p:sldId id="2147483353" r:id="rId15"/>
    <p:sldId id="292" r:id="rId16"/>
    <p:sldId id="283" r:id="rId17"/>
    <p:sldId id="293" r:id="rId18"/>
    <p:sldId id="280" r:id="rId19"/>
    <p:sldId id="295" r:id="rId20"/>
    <p:sldId id="296" r:id="rId21"/>
    <p:sldId id="297" r:id="rId22"/>
    <p:sldId id="298" r:id="rId23"/>
    <p:sldId id="299" r:id="rId24"/>
    <p:sldId id="300" r:id="rId25"/>
    <p:sldId id="285" r:id="rId26"/>
    <p:sldId id="302" r:id="rId27"/>
    <p:sldId id="308" r:id="rId28"/>
    <p:sldId id="2147483351" r:id="rId29"/>
  </p:sldIdLst>
  <p:sldSz cx="12192000" cy="6858000"/>
  <p:notesSz cx="6797675" cy="9872663"/>
  <p:custDataLst>
    <p:tags r:id="rId31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5F5F14-D78F-20FD-D9C5-AF28FE30E3B6}" name="Valentina Bonucchi" initials="VB" userId="S::VBonucchi@Nilfisk.com::a3c72a79-03ca-4054-8650-fe55237bf169" providerId="AD"/>
  <p188:author id="{CCE1D22A-4564-FEA0-066D-AE80ED435C8C}" name="Line Skovbjerg" initials="LS" userId="S::lskovbjerg@Nilfisk.com::bd8d82be-b2a3-4297-892b-01dc5ddd9e5a" providerId="AD"/>
  <p188:author id="{FDC7F346-4312-36AF-0FF5-21C8082AB47A}" name="Claes Jensen" initials="CJ" userId="S::cljensen@nilfisk.com::4b63c7b0-aedc-4164-ae98-dea0b535c4ad" providerId="AD"/>
  <p188:author id="{CD4FC247-B2D8-7883-751F-D1D77A4D67AC}" name="Anastasia Droungani" initials="AD" userId="S::adroungani@Nilfisk.com::09c5df22-b6e2-4fe6-8272-4621f65e032c" providerId="AD"/>
  <p188:author id="{E3AD689E-262B-A935-CEC3-AFF9757E6F5F}" name="Emma Jakobsen" initials="EJ" userId="S::ejakobsen@Nilfisk.com::7d62d3cc-97a4-4c56-8920-5d34f7ee0561" providerId="AD"/>
  <p188:author id="{869C6DC8-D2BD-AF91-A155-D0F8AE0BC728}" name="Claes Jensen" initials="" userId="S::cljensen@Nilfisk.com::4b63c7b0-aedc-4164-ae98-dea0b535c4a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  <p:cmAuthor id="3" name="InBold" initials="I" lastIdx="1" clrIdx="2">
    <p:extLst>
      <p:ext uri="{19B8F6BF-5375-455C-9EA6-DF929625EA0E}">
        <p15:presenceInfo xmlns:p15="http://schemas.microsoft.com/office/powerpoint/2012/main" userId="InBold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97A4"/>
    <a:srgbClr val="7C878E"/>
    <a:srgbClr val="000000"/>
    <a:srgbClr val="979797"/>
    <a:srgbClr val="4B4F54"/>
    <a:srgbClr val="606A70"/>
    <a:srgbClr val="D4CFBE"/>
    <a:srgbClr val="82827E"/>
    <a:srgbClr val="DDCFBF"/>
    <a:srgbClr val="0547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2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astasia Droungani" userId="09c5df22-b6e2-4fe6-8272-4621f65e032c" providerId="ADAL" clId="{F8782ACA-4B20-455C-A66B-D7BDA2B7F5EC}"/>
    <pc:docChg chg="custSel delSld modSld sldOrd">
      <pc:chgData name="Anastasia Droungani" userId="09c5df22-b6e2-4fe6-8272-4621f65e032c" providerId="ADAL" clId="{F8782ACA-4B20-455C-A66B-D7BDA2B7F5EC}" dt="2025-12-05T11:16:05.227" v="152" actId="2696"/>
      <pc:docMkLst>
        <pc:docMk/>
      </pc:docMkLst>
      <pc:sldChg chg="addSp delSp modSp mod">
        <pc:chgData name="Anastasia Droungani" userId="09c5df22-b6e2-4fe6-8272-4621f65e032c" providerId="ADAL" clId="{F8782ACA-4B20-455C-A66B-D7BDA2B7F5EC}" dt="2025-12-05T11:00:16.075" v="69" actId="1036"/>
        <pc:sldMkLst>
          <pc:docMk/>
          <pc:sldMk cId="1708403942" sldId="272"/>
        </pc:sldMkLst>
        <pc:spChg chg="del">
          <ac:chgData name="Anastasia Droungani" userId="09c5df22-b6e2-4fe6-8272-4621f65e032c" providerId="ADAL" clId="{F8782ACA-4B20-455C-A66B-D7BDA2B7F5EC}" dt="2025-12-05T10:54:57.947" v="32" actId="478"/>
          <ac:spMkLst>
            <pc:docMk/>
            <pc:sldMk cId="1708403942" sldId="272"/>
            <ac:spMk id="4" creationId="{7B9F07C7-0ECF-4BF5-A045-4D8036A58FB3}"/>
          </ac:spMkLst>
        </pc:spChg>
        <pc:spChg chg="mod">
          <ac:chgData name="Anastasia Droungani" userId="09c5df22-b6e2-4fe6-8272-4621f65e032c" providerId="ADAL" clId="{F8782ACA-4B20-455C-A66B-D7BDA2B7F5EC}" dt="2025-12-05T10:59:47.066" v="56" actId="1076"/>
          <ac:spMkLst>
            <pc:docMk/>
            <pc:sldMk cId="1708403942" sldId="272"/>
            <ac:spMk id="5" creationId="{EB004906-0AAE-4CB6-B00B-400B891D77F6}"/>
          </ac:spMkLst>
        </pc:spChg>
        <pc:spChg chg="mod">
          <ac:chgData name="Anastasia Droungani" userId="09c5df22-b6e2-4fe6-8272-4621f65e032c" providerId="ADAL" clId="{F8782ACA-4B20-455C-A66B-D7BDA2B7F5EC}" dt="2025-12-05T11:00:16.075" v="69" actId="1036"/>
          <ac:spMkLst>
            <pc:docMk/>
            <pc:sldMk cId="1708403942" sldId="272"/>
            <ac:spMk id="6" creationId="{42542A51-367A-4167-9752-5079572B4A15}"/>
          </ac:spMkLst>
        </pc:spChg>
        <pc:spChg chg="del">
          <ac:chgData name="Anastasia Droungani" userId="09c5df22-b6e2-4fe6-8272-4621f65e032c" providerId="ADAL" clId="{F8782ACA-4B20-455C-A66B-D7BDA2B7F5EC}" dt="2025-12-05T10:59:50.260" v="57" actId="478"/>
          <ac:spMkLst>
            <pc:docMk/>
            <pc:sldMk cId="1708403942" sldId="272"/>
            <ac:spMk id="7" creationId="{40E66796-D33F-46D4-A7D4-01899DA7D614}"/>
          </ac:spMkLst>
        </pc:spChg>
        <pc:spChg chg="mod">
          <ac:chgData name="Anastasia Droungani" userId="09c5df22-b6e2-4fe6-8272-4621f65e032c" providerId="ADAL" clId="{F8782ACA-4B20-455C-A66B-D7BDA2B7F5EC}" dt="2025-12-05T11:00:03.946" v="59" actId="1076"/>
          <ac:spMkLst>
            <pc:docMk/>
            <pc:sldMk cId="1708403942" sldId="272"/>
            <ac:spMk id="8" creationId="{047B1944-3895-4DE5-AE50-969FBC4D89E9}"/>
          </ac:spMkLst>
        </pc:spChg>
        <pc:spChg chg="del">
          <ac:chgData name="Anastasia Droungani" userId="09c5df22-b6e2-4fe6-8272-4621f65e032c" providerId="ADAL" clId="{F8782ACA-4B20-455C-A66B-D7BDA2B7F5EC}" dt="2025-12-05T10:54:59.939" v="33" actId="478"/>
          <ac:spMkLst>
            <pc:docMk/>
            <pc:sldMk cId="1708403942" sldId="272"/>
            <ac:spMk id="10" creationId="{2AC5112B-EB2B-4C8F-B168-083A2A11A235}"/>
          </ac:spMkLst>
        </pc:spChg>
        <pc:spChg chg="mod">
          <ac:chgData name="Anastasia Droungani" userId="09c5df22-b6e2-4fe6-8272-4621f65e032c" providerId="ADAL" clId="{F8782ACA-4B20-455C-A66B-D7BDA2B7F5EC}" dt="2025-12-05T11:00:05.943" v="61" actId="20577"/>
          <ac:spMkLst>
            <pc:docMk/>
            <pc:sldMk cId="1708403942" sldId="272"/>
            <ac:spMk id="11" creationId="{C4371355-1C45-4851-8D01-7A92B44BE747}"/>
          </ac:spMkLst>
        </pc:spChg>
        <pc:spChg chg="mod">
          <ac:chgData name="Anastasia Droungani" userId="09c5df22-b6e2-4fe6-8272-4621f65e032c" providerId="ADAL" clId="{F8782ACA-4B20-455C-A66B-D7BDA2B7F5EC}" dt="2025-12-05T11:00:16.075" v="69" actId="1036"/>
          <ac:spMkLst>
            <pc:docMk/>
            <pc:sldMk cId="1708403942" sldId="272"/>
            <ac:spMk id="12" creationId="{3EEBA80C-DEE5-48A1-A470-3A42CC23CC93}"/>
          </ac:spMkLst>
        </pc:spChg>
        <pc:spChg chg="del">
          <ac:chgData name="Anastasia Droungani" userId="09c5df22-b6e2-4fe6-8272-4621f65e032c" providerId="ADAL" clId="{F8782ACA-4B20-455C-A66B-D7BDA2B7F5EC}" dt="2025-12-05T10:59:50.260" v="57" actId="478"/>
          <ac:spMkLst>
            <pc:docMk/>
            <pc:sldMk cId="1708403942" sldId="272"/>
            <ac:spMk id="13" creationId="{42CE94A0-EF79-4011-8AF4-C263AF197290}"/>
          </ac:spMkLst>
        </pc:spChg>
        <pc:spChg chg="mod">
          <ac:chgData name="Anastasia Droungani" userId="09c5df22-b6e2-4fe6-8272-4621f65e032c" providerId="ADAL" clId="{F8782ACA-4B20-455C-A66B-D7BDA2B7F5EC}" dt="2025-12-05T11:00:10.551" v="65" actId="20577"/>
          <ac:spMkLst>
            <pc:docMk/>
            <pc:sldMk cId="1708403942" sldId="272"/>
            <ac:spMk id="14" creationId="{C7ECDD9B-83F9-4C79-A91C-A8CE741C51C9}"/>
          </ac:spMkLst>
        </pc:spChg>
        <pc:spChg chg="add del mod">
          <ac:chgData name="Anastasia Droungani" userId="09c5df22-b6e2-4fe6-8272-4621f65e032c" providerId="ADAL" clId="{F8782ACA-4B20-455C-A66B-D7BDA2B7F5EC}" dt="2025-12-05T10:55:00.999" v="34" actId="478"/>
          <ac:spMkLst>
            <pc:docMk/>
            <pc:sldMk cId="1708403942" sldId="272"/>
            <ac:spMk id="18" creationId="{8F71E39E-68D8-897A-6B3B-A6A29F7CCCB5}"/>
          </ac:spMkLst>
        </pc:spChg>
        <pc:spChg chg="add del mod">
          <ac:chgData name="Anastasia Droungani" userId="09c5df22-b6e2-4fe6-8272-4621f65e032c" providerId="ADAL" clId="{F8782ACA-4B20-455C-A66B-D7BDA2B7F5EC}" dt="2025-12-05T10:55:02.980" v="35" actId="478"/>
          <ac:spMkLst>
            <pc:docMk/>
            <pc:sldMk cId="1708403942" sldId="272"/>
            <ac:spMk id="20" creationId="{87FD3D5E-1F0B-DA7E-0146-1FD808A00E54}"/>
          </ac:spMkLst>
        </pc:spChg>
        <pc:spChg chg="add del mod">
          <ac:chgData name="Anastasia Droungani" userId="09c5df22-b6e2-4fe6-8272-4621f65e032c" providerId="ADAL" clId="{F8782ACA-4B20-455C-A66B-D7BDA2B7F5EC}" dt="2025-12-05T10:59:53.702" v="58" actId="478"/>
          <ac:spMkLst>
            <pc:docMk/>
            <pc:sldMk cId="1708403942" sldId="272"/>
            <ac:spMk id="22" creationId="{72AA265D-EEC8-9CE2-DBD8-A133B58C155A}"/>
          </ac:spMkLst>
        </pc:spChg>
        <pc:spChg chg="add del mod">
          <ac:chgData name="Anastasia Droungani" userId="09c5df22-b6e2-4fe6-8272-4621f65e032c" providerId="ADAL" clId="{F8782ACA-4B20-455C-A66B-D7BDA2B7F5EC}" dt="2025-12-05T10:59:53.702" v="58" actId="478"/>
          <ac:spMkLst>
            <pc:docMk/>
            <pc:sldMk cId="1708403942" sldId="272"/>
            <ac:spMk id="25" creationId="{7C9ACCF6-D48E-70B6-9A00-7576F9FD6DA8}"/>
          </ac:spMkLst>
        </pc:spChg>
      </pc:sldChg>
      <pc:sldChg chg="modSp mod">
        <pc:chgData name="Anastasia Droungani" userId="09c5df22-b6e2-4fe6-8272-4621f65e032c" providerId="ADAL" clId="{F8782ACA-4B20-455C-A66B-D7BDA2B7F5EC}" dt="2025-12-05T10:54:31.006" v="28" actId="20577"/>
        <pc:sldMkLst>
          <pc:docMk/>
          <pc:sldMk cId="4178317396" sldId="273"/>
        </pc:sldMkLst>
        <pc:spChg chg="mod">
          <ac:chgData name="Anastasia Droungani" userId="09c5df22-b6e2-4fe6-8272-4621f65e032c" providerId="ADAL" clId="{F8782ACA-4B20-455C-A66B-D7BDA2B7F5EC}" dt="2025-12-05T10:54:31.006" v="28" actId="20577"/>
          <ac:spMkLst>
            <pc:docMk/>
            <pc:sldMk cId="4178317396" sldId="273"/>
            <ac:spMk id="19" creationId="{E0C0309B-001C-2D19-E950-445B44EBA45F}"/>
          </ac:spMkLst>
        </pc:spChg>
      </pc:sldChg>
      <pc:sldChg chg="addSp delSp modSp mod">
        <pc:chgData name="Anastasia Droungani" userId="09c5df22-b6e2-4fe6-8272-4621f65e032c" providerId="ADAL" clId="{F8782ACA-4B20-455C-A66B-D7BDA2B7F5EC}" dt="2025-12-05T11:00:39.454" v="75" actId="20577"/>
        <pc:sldMkLst>
          <pc:docMk/>
          <pc:sldMk cId="2625328025" sldId="276"/>
        </pc:sldMkLst>
        <pc:spChg chg="del">
          <ac:chgData name="Anastasia Droungani" userId="09c5df22-b6e2-4fe6-8272-4621f65e032c" providerId="ADAL" clId="{F8782ACA-4B20-455C-A66B-D7BDA2B7F5EC}" dt="2025-12-05T10:57:27.562" v="52" actId="478"/>
          <ac:spMkLst>
            <pc:docMk/>
            <pc:sldMk cId="2625328025" sldId="276"/>
            <ac:spMk id="4" creationId="{0FD5C834-E59E-A89C-2FDE-7BBD907E57FF}"/>
          </ac:spMkLst>
        </pc:spChg>
        <pc:spChg chg="mod">
          <ac:chgData name="Anastasia Droungani" userId="09c5df22-b6e2-4fe6-8272-4621f65e032c" providerId="ADAL" clId="{F8782ACA-4B20-455C-A66B-D7BDA2B7F5EC}" dt="2025-12-05T10:57:41.489" v="54" actId="1076"/>
          <ac:spMkLst>
            <pc:docMk/>
            <pc:sldMk cId="2625328025" sldId="276"/>
            <ac:spMk id="5" creationId="{611C48DA-AC83-E3F2-EC00-94B018E99B31}"/>
          </ac:spMkLst>
        </pc:spChg>
        <pc:spChg chg="mod">
          <ac:chgData name="Anastasia Droungani" userId="09c5df22-b6e2-4fe6-8272-4621f65e032c" providerId="ADAL" clId="{F8782ACA-4B20-455C-A66B-D7BDA2B7F5EC}" dt="2025-12-05T10:57:41.489" v="54" actId="1076"/>
          <ac:spMkLst>
            <pc:docMk/>
            <pc:sldMk cId="2625328025" sldId="276"/>
            <ac:spMk id="6" creationId="{2DDBD3F8-FBB0-E74C-45EE-7A5018AD500D}"/>
          </ac:spMkLst>
        </pc:spChg>
        <pc:spChg chg="del">
          <ac:chgData name="Anastasia Droungani" userId="09c5df22-b6e2-4fe6-8272-4621f65e032c" providerId="ADAL" clId="{F8782ACA-4B20-455C-A66B-D7BDA2B7F5EC}" dt="2025-12-05T10:57:27.562" v="52" actId="478"/>
          <ac:spMkLst>
            <pc:docMk/>
            <pc:sldMk cId="2625328025" sldId="276"/>
            <ac:spMk id="7" creationId="{66D3ECE9-3E30-0E19-720C-5A4DB29B2D37}"/>
          </ac:spMkLst>
        </pc:spChg>
        <pc:spChg chg="mod">
          <ac:chgData name="Anastasia Droungani" userId="09c5df22-b6e2-4fe6-8272-4621f65e032c" providerId="ADAL" clId="{F8782ACA-4B20-455C-A66B-D7BDA2B7F5EC}" dt="2025-12-05T10:59:33.615" v="55" actId="1076"/>
          <ac:spMkLst>
            <pc:docMk/>
            <pc:sldMk cId="2625328025" sldId="276"/>
            <ac:spMk id="8" creationId="{EDD07E49-9ABC-6C59-3286-D4FC2A371987}"/>
          </ac:spMkLst>
        </pc:spChg>
        <pc:spChg chg="del">
          <ac:chgData name="Anastasia Droungani" userId="09c5df22-b6e2-4fe6-8272-4621f65e032c" providerId="ADAL" clId="{F8782ACA-4B20-455C-A66B-D7BDA2B7F5EC}" dt="2025-12-05T10:57:27.562" v="52" actId="478"/>
          <ac:spMkLst>
            <pc:docMk/>
            <pc:sldMk cId="2625328025" sldId="276"/>
            <ac:spMk id="10" creationId="{E8ACC3F1-905B-594D-6D5C-45E6551E0A31}"/>
          </ac:spMkLst>
        </pc:spChg>
        <pc:spChg chg="mod">
          <ac:chgData name="Anastasia Droungani" userId="09c5df22-b6e2-4fe6-8272-4621f65e032c" providerId="ADAL" clId="{F8782ACA-4B20-455C-A66B-D7BDA2B7F5EC}" dt="2025-12-05T11:00:35.181" v="71" actId="20577"/>
          <ac:spMkLst>
            <pc:docMk/>
            <pc:sldMk cId="2625328025" sldId="276"/>
            <ac:spMk id="11" creationId="{4E1273E9-88D5-410B-EF71-111DAFA73DC7}"/>
          </ac:spMkLst>
        </pc:spChg>
        <pc:spChg chg="mod">
          <ac:chgData name="Anastasia Droungani" userId="09c5df22-b6e2-4fe6-8272-4621f65e032c" providerId="ADAL" clId="{F8782ACA-4B20-455C-A66B-D7BDA2B7F5EC}" dt="2025-12-05T11:00:37.470" v="73" actId="20577"/>
          <ac:spMkLst>
            <pc:docMk/>
            <pc:sldMk cId="2625328025" sldId="276"/>
            <ac:spMk id="12" creationId="{DE384A9E-6A5E-A0B3-240F-7C34D6F00D89}"/>
          </ac:spMkLst>
        </pc:spChg>
        <pc:spChg chg="del">
          <ac:chgData name="Anastasia Droungani" userId="09c5df22-b6e2-4fe6-8272-4621f65e032c" providerId="ADAL" clId="{F8782ACA-4B20-455C-A66B-D7BDA2B7F5EC}" dt="2025-12-05T10:57:27.562" v="52" actId="478"/>
          <ac:spMkLst>
            <pc:docMk/>
            <pc:sldMk cId="2625328025" sldId="276"/>
            <ac:spMk id="13" creationId="{840FDE84-71F5-56F4-D237-C73150475887}"/>
          </ac:spMkLst>
        </pc:spChg>
        <pc:spChg chg="mod">
          <ac:chgData name="Anastasia Droungani" userId="09c5df22-b6e2-4fe6-8272-4621f65e032c" providerId="ADAL" clId="{F8782ACA-4B20-455C-A66B-D7BDA2B7F5EC}" dt="2025-12-05T11:00:39.454" v="75" actId="20577"/>
          <ac:spMkLst>
            <pc:docMk/>
            <pc:sldMk cId="2625328025" sldId="276"/>
            <ac:spMk id="14" creationId="{83FB9471-843E-0AD9-0858-FD49B551226D}"/>
          </ac:spMkLst>
        </pc:spChg>
        <pc:spChg chg="add del mod">
          <ac:chgData name="Anastasia Droungani" userId="09c5df22-b6e2-4fe6-8272-4621f65e032c" providerId="ADAL" clId="{F8782ACA-4B20-455C-A66B-D7BDA2B7F5EC}" dt="2025-12-05T10:57:33.977" v="53" actId="478"/>
          <ac:spMkLst>
            <pc:docMk/>
            <pc:sldMk cId="2625328025" sldId="276"/>
            <ac:spMk id="18" creationId="{6AC9CBC4-A5D9-64DE-CF6F-CC98619D79BB}"/>
          </ac:spMkLst>
        </pc:spChg>
        <pc:spChg chg="add del mod">
          <ac:chgData name="Anastasia Droungani" userId="09c5df22-b6e2-4fe6-8272-4621f65e032c" providerId="ADAL" clId="{F8782ACA-4B20-455C-A66B-D7BDA2B7F5EC}" dt="2025-12-05T10:57:33.977" v="53" actId="478"/>
          <ac:spMkLst>
            <pc:docMk/>
            <pc:sldMk cId="2625328025" sldId="276"/>
            <ac:spMk id="20" creationId="{D403CF2A-4071-B1E4-E68B-12B75B3DA771}"/>
          </ac:spMkLst>
        </pc:spChg>
        <pc:spChg chg="add del mod">
          <ac:chgData name="Anastasia Droungani" userId="09c5df22-b6e2-4fe6-8272-4621f65e032c" providerId="ADAL" clId="{F8782ACA-4B20-455C-A66B-D7BDA2B7F5EC}" dt="2025-12-05T10:57:33.977" v="53" actId="478"/>
          <ac:spMkLst>
            <pc:docMk/>
            <pc:sldMk cId="2625328025" sldId="276"/>
            <ac:spMk id="22" creationId="{5787D548-F3A1-D6FE-E869-3F433EC8A2C0}"/>
          </ac:spMkLst>
        </pc:spChg>
        <pc:spChg chg="add del mod">
          <ac:chgData name="Anastasia Droungani" userId="09c5df22-b6e2-4fe6-8272-4621f65e032c" providerId="ADAL" clId="{F8782ACA-4B20-455C-A66B-D7BDA2B7F5EC}" dt="2025-12-05T10:57:33.977" v="53" actId="478"/>
          <ac:spMkLst>
            <pc:docMk/>
            <pc:sldMk cId="2625328025" sldId="276"/>
            <ac:spMk id="25" creationId="{9A0AB810-3AC2-BEE0-7088-232B4802D6A9}"/>
          </ac:spMkLst>
        </pc:spChg>
      </pc:sldChg>
      <pc:sldChg chg="del">
        <pc:chgData name="Anastasia Droungani" userId="09c5df22-b6e2-4fe6-8272-4621f65e032c" providerId="ADAL" clId="{F8782ACA-4B20-455C-A66B-D7BDA2B7F5EC}" dt="2025-12-05T10:54:41.121" v="29" actId="2696"/>
        <pc:sldMkLst>
          <pc:docMk/>
          <pc:sldMk cId="4202186774" sldId="279"/>
        </pc:sldMkLst>
      </pc:sldChg>
      <pc:sldChg chg="modSp mod">
        <pc:chgData name="Anastasia Droungani" userId="09c5df22-b6e2-4fe6-8272-4621f65e032c" providerId="ADAL" clId="{F8782ACA-4B20-455C-A66B-D7BDA2B7F5EC}" dt="2025-12-05T11:03:40.238" v="108" actId="20577"/>
        <pc:sldMkLst>
          <pc:docMk/>
          <pc:sldMk cId="384294555" sldId="280"/>
        </pc:sldMkLst>
        <pc:spChg chg="mod">
          <ac:chgData name="Anastasia Droungani" userId="09c5df22-b6e2-4fe6-8272-4621f65e032c" providerId="ADAL" clId="{F8782ACA-4B20-455C-A66B-D7BDA2B7F5EC}" dt="2025-12-05T11:03:40.238" v="108" actId="20577"/>
          <ac:spMkLst>
            <pc:docMk/>
            <pc:sldMk cId="384294555" sldId="280"/>
            <ac:spMk id="5" creationId="{0FAFB8C4-4832-A237-8A9A-D4EFD6CB7C13}"/>
          </ac:spMkLst>
        </pc:spChg>
      </pc:sldChg>
      <pc:sldChg chg="del">
        <pc:chgData name="Anastasia Droungani" userId="09c5df22-b6e2-4fe6-8272-4621f65e032c" providerId="ADAL" clId="{F8782ACA-4B20-455C-A66B-D7BDA2B7F5EC}" dt="2025-12-05T10:54:51.635" v="31" actId="2696"/>
        <pc:sldMkLst>
          <pc:docMk/>
          <pc:sldMk cId="4090416101" sldId="281"/>
        </pc:sldMkLst>
      </pc:sldChg>
      <pc:sldChg chg="addSp delSp modSp mod">
        <pc:chgData name="Anastasia Droungani" userId="09c5df22-b6e2-4fe6-8272-4621f65e032c" providerId="ADAL" clId="{F8782ACA-4B20-455C-A66B-D7BDA2B7F5EC}" dt="2025-12-05T10:55:58.514" v="51" actId="20577"/>
        <pc:sldMkLst>
          <pc:docMk/>
          <pc:sldMk cId="4031914309" sldId="282"/>
        </pc:sldMkLst>
        <pc:spChg chg="del">
          <ac:chgData name="Anastasia Droungani" userId="09c5df22-b6e2-4fe6-8272-4621f65e032c" providerId="ADAL" clId="{F8782ACA-4B20-455C-A66B-D7BDA2B7F5EC}" dt="2025-12-05T10:55:11.726" v="36" actId="478"/>
          <ac:spMkLst>
            <pc:docMk/>
            <pc:sldMk cId="4031914309" sldId="282"/>
            <ac:spMk id="4" creationId="{874E7D91-CCE0-1ED5-47A3-DCC6D5D87D72}"/>
          </ac:spMkLst>
        </pc:spChg>
        <pc:spChg chg="mod">
          <ac:chgData name="Anastasia Droungani" userId="09c5df22-b6e2-4fe6-8272-4621f65e032c" providerId="ADAL" clId="{F8782ACA-4B20-455C-A66B-D7BDA2B7F5EC}" dt="2025-12-05T10:55:25.270" v="40" actId="1076"/>
          <ac:spMkLst>
            <pc:docMk/>
            <pc:sldMk cId="4031914309" sldId="282"/>
            <ac:spMk id="5" creationId="{EDA07C6B-AD43-5DB5-86C1-080C5E1DBECE}"/>
          </ac:spMkLst>
        </pc:spChg>
        <pc:spChg chg="mod">
          <ac:chgData name="Anastasia Droungani" userId="09c5df22-b6e2-4fe6-8272-4621f65e032c" providerId="ADAL" clId="{F8782ACA-4B20-455C-A66B-D7BDA2B7F5EC}" dt="2025-12-05T10:55:34.205" v="43" actId="1076"/>
          <ac:spMkLst>
            <pc:docMk/>
            <pc:sldMk cId="4031914309" sldId="282"/>
            <ac:spMk id="6" creationId="{1CAF1521-6C43-3A44-39C8-1F39EE548C22}"/>
          </ac:spMkLst>
        </pc:spChg>
        <pc:spChg chg="del">
          <ac:chgData name="Anastasia Droungani" userId="09c5df22-b6e2-4fe6-8272-4621f65e032c" providerId="ADAL" clId="{F8782ACA-4B20-455C-A66B-D7BDA2B7F5EC}" dt="2025-12-05T10:55:41.698" v="46" actId="478"/>
          <ac:spMkLst>
            <pc:docMk/>
            <pc:sldMk cId="4031914309" sldId="282"/>
            <ac:spMk id="7" creationId="{063FE353-869C-07E4-81A4-16D5C4878838}"/>
          </ac:spMkLst>
        </pc:spChg>
        <pc:spChg chg="mod">
          <ac:chgData name="Anastasia Droungani" userId="09c5df22-b6e2-4fe6-8272-4621f65e032c" providerId="ADAL" clId="{F8782ACA-4B20-455C-A66B-D7BDA2B7F5EC}" dt="2025-12-05T10:55:56.679" v="49" actId="1076"/>
          <ac:spMkLst>
            <pc:docMk/>
            <pc:sldMk cId="4031914309" sldId="282"/>
            <ac:spMk id="8" creationId="{20D4F8F0-53F1-9AED-B56E-C79A8913161A}"/>
          </ac:spMkLst>
        </pc:spChg>
        <pc:spChg chg="del">
          <ac:chgData name="Anastasia Droungani" userId="09c5df22-b6e2-4fe6-8272-4621f65e032c" providerId="ADAL" clId="{F8782ACA-4B20-455C-A66B-D7BDA2B7F5EC}" dt="2025-12-05T10:55:14.195" v="37" actId="478"/>
          <ac:spMkLst>
            <pc:docMk/>
            <pc:sldMk cId="4031914309" sldId="282"/>
            <ac:spMk id="10" creationId="{54E6FE1B-7DC2-3C0E-6D0F-ECF0DB786BD2}"/>
          </ac:spMkLst>
        </pc:spChg>
        <pc:spChg chg="mod">
          <ac:chgData name="Anastasia Droungani" userId="09c5df22-b6e2-4fe6-8272-4621f65e032c" providerId="ADAL" clId="{F8782ACA-4B20-455C-A66B-D7BDA2B7F5EC}" dt="2025-12-05T10:55:27.337" v="42" actId="20577"/>
          <ac:spMkLst>
            <pc:docMk/>
            <pc:sldMk cId="4031914309" sldId="282"/>
            <ac:spMk id="11" creationId="{A4950A2E-3128-70F7-F13D-61E3463FB180}"/>
          </ac:spMkLst>
        </pc:spChg>
        <pc:spChg chg="mod">
          <ac:chgData name="Anastasia Droungani" userId="09c5df22-b6e2-4fe6-8272-4621f65e032c" providerId="ADAL" clId="{F8782ACA-4B20-455C-A66B-D7BDA2B7F5EC}" dt="2025-12-05T10:55:37.837" v="45" actId="20577"/>
          <ac:spMkLst>
            <pc:docMk/>
            <pc:sldMk cId="4031914309" sldId="282"/>
            <ac:spMk id="12" creationId="{BAA1E4E9-BEE6-725E-EB6A-9E79706ACB7F}"/>
          </ac:spMkLst>
        </pc:spChg>
        <pc:spChg chg="del">
          <ac:chgData name="Anastasia Droungani" userId="09c5df22-b6e2-4fe6-8272-4621f65e032c" providerId="ADAL" clId="{F8782ACA-4B20-455C-A66B-D7BDA2B7F5EC}" dt="2025-12-05T10:55:41.698" v="46" actId="478"/>
          <ac:spMkLst>
            <pc:docMk/>
            <pc:sldMk cId="4031914309" sldId="282"/>
            <ac:spMk id="13" creationId="{9ED40E3F-1C14-0CD3-E132-7E4B9888FF54}"/>
          </ac:spMkLst>
        </pc:spChg>
        <pc:spChg chg="mod">
          <ac:chgData name="Anastasia Droungani" userId="09c5df22-b6e2-4fe6-8272-4621f65e032c" providerId="ADAL" clId="{F8782ACA-4B20-455C-A66B-D7BDA2B7F5EC}" dt="2025-12-05T10:55:58.514" v="51" actId="20577"/>
          <ac:spMkLst>
            <pc:docMk/>
            <pc:sldMk cId="4031914309" sldId="282"/>
            <ac:spMk id="14" creationId="{A55FA706-4544-83D6-401E-A768CDE40C5A}"/>
          </ac:spMkLst>
        </pc:spChg>
        <pc:spChg chg="add del mod">
          <ac:chgData name="Anastasia Droungani" userId="09c5df22-b6e2-4fe6-8272-4621f65e032c" providerId="ADAL" clId="{F8782ACA-4B20-455C-A66B-D7BDA2B7F5EC}" dt="2025-12-05T10:55:15.072" v="38" actId="478"/>
          <ac:spMkLst>
            <pc:docMk/>
            <pc:sldMk cId="4031914309" sldId="282"/>
            <ac:spMk id="18" creationId="{FDEA688E-24A1-35BF-6701-DDF20F17BDF3}"/>
          </ac:spMkLst>
        </pc:spChg>
        <pc:spChg chg="add del mod">
          <ac:chgData name="Anastasia Droungani" userId="09c5df22-b6e2-4fe6-8272-4621f65e032c" providerId="ADAL" clId="{F8782ACA-4B20-455C-A66B-D7BDA2B7F5EC}" dt="2025-12-05T10:55:16.682" v="39" actId="478"/>
          <ac:spMkLst>
            <pc:docMk/>
            <pc:sldMk cId="4031914309" sldId="282"/>
            <ac:spMk id="20" creationId="{CA64BF1C-FE96-8D34-8DA4-936C7F430581}"/>
          </ac:spMkLst>
        </pc:spChg>
        <pc:spChg chg="add del mod">
          <ac:chgData name="Anastasia Droungani" userId="09c5df22-b6e2-4fe6-8272-4621f65e032c" providerId="ADAL" clId="{F8782ACA-4B20-455C-A66B-D7BDA2B7F5EC}" dt="2025-12-05T10:55:43.816" v="47" actId="478"/>
          <ac:spMkLst>
            <pc:docMk/>
            <pc:sldMk cId="4031914309" sldId="282"/>
            <ac:spMk id="22" creationId="{9987264A-359F-387E-3194-F2BF39DEEC5E}"/>
          </ac:spMkLst>
        </pc:spChg>
        <pc:spChg chg="add del mod">
          <ac:chgData name="Anastasia Droungani" userId="09c5df22-b6e2-4fe6-8272-4621f65e032c" providerId="ADAL" clId="{F8782ACA-4B20-455C-A66B-D7BDA2B7F5EC}" dt="2025-12-05T10:55:49.314" v="48" actId="478"/>
          <ac:spMkLst>
            <pc:docMk/>
            <pc:sldMk cId="4031914309" sldId="282"/>
            <ac:spMk id="25" creationId="{6CCA7470-3E20-4719-358D-E022A74BDC62}"/>
          </ac:spMkLst>
        </pc:spChg>
      </pc:sldChg>
      <pc:sldChg chg="addSp delSp modSp mod">
        <pc:chgData name="Anastasia Droungani" userId="09c5df22-b6e2-4fe6-8272-4621f65e032c" providerId="ADAL" clId="{F8782ACA-4B20-455C-A66B-D7BDA2B7F5EC}" dt="2025-12-05T11:03:16.020" v="104" actId="20577"/>
        <pc:sldMkLst>
          <pc:docMk/>
          <pc:sldMk cId="341005070" sldId="283"/>
        </pc:sldMkLst>
        <pc:spChg chg="del">
          <ac:chgData name="Anastasia Droungani" userId="09c5df22-b6e2-4fe6-8272-4621f65e032c" providerId="ADAL" clId="{F8782ACA-4B20-455C-A66B-D7BDA2B7F5EC}" dt="2025-12-05T11:02:23.244" v="90" actId="478"/>
          <ac:spMkLst>
            <pc:docMk/>
            <pc:sldMk cId="341005070" sldId="283"/>
            <ac:spMk id="4" creationId="{CD3EB229-66E5-A6E6-7CD6-EF6295E855AB}"/>
          </ac:spMkLst>
        </pc:spChg>
        <pc:spChg chg="mod">
          <ac:chgData name="Anastasia Droungani" userId="09c5df22-b6e2-4fe6-8272-4621f65e032c" providerId="ADAL" clId="{F8782ACA-4B20-455C-A66B-D7BDA2B7F5EC}" dt="2025-12-05T11:02:47.325" v="94" actId="1076"/>
          <ac:spMkLst>
            <pc:docMk/>
            <pc:sldMk cId="341005070" sldId="283"/>
            <ac:spMk id="5" creationId="{EF0ED955-EA12-34F1-CF62-80CBF9156B1F}"/>
          </ac:spMkLst>
        </pc:spChg>
        <pc:spChg chg="mod">
          <ac:chgData name="Anastasia Droungani" userId="09c5df22-b6e2-4fe6-8272-4621f65e032c" providerId="ADAL" clId="{F8782ACA-4B20-455C-A66B-D7BDA2B7F5EC}" dt="2025-12-05T11:02:51.394" v="95" actId="1076"/>
          <ac:spMkLst>
            <pc:docMk/>
            <pc:sldMk cId="341005070" sldId="283"/>
            <ac:spMk id="6" creationId="{8B70A25E-AEC3-6D36-4ABC-56D1095D8FB5}"/>
          </ac:spMkLst>
        </pc:spChg>
        <pc:spChg chg="del">
          <ac:chgData name="Anastasia Droungani" userId="09c5df22-b6e2-4fe6-8272-4621f65e032c" providerId="ADAL" clId="{F8782ACA-4B20-455C-A66B-D7BDA2B7F5EC}" dt="2025-12-05T11:03:02.709" v="100" actId="478"/>
          <ac:spMkLst>
            <pc:docMk/>
            <pc:sldMk cId="341005070" sldId="283"/>
            <ac:spMk id="7" creationId="{E5F98499-24A2-E060-EC37-E7EA9EC97075}"/>
          </ac:spMkLst>
        </pc:spChg>
        <pc:spChg chg="mod">
          <ac:chgData name="Anastasia Droungani" userId="09c5df22-b6e2-4fe6-8272-4621f65e032c" providerId="ADAL" clId="{F8782ACA-4B20-455C-A66B-D7BDA2B7F5EC}" dt="2025-12-05T11:03:11.446" v="102" actId="1076"/>
          <ac:spMkLst>
            <pc:docMk/>
            <pc:sldMk cId="341005070" sldId="283"/>
            <ac:spMk id="8" creationId="{A1E572EF-2B77-3505-402A-44DBA44ADE50}"/>
          </ac:spMkLst>
        </pc:spChg>
        <pc:spChg chg="del">
          <ac:chgData name="Anastasia Droungani" userId="09c5df22-b6e2-4fe6-8272-4621f65e032c" providerId="ADAL" clId="{F8782ACA-4B20-455C-A66B-D7BDA2B7F5EC}" dt="2025-12-05T11:02:23.244" v="90" actId="478"/>
          <ac:spMkLst>
            <pc:docMk/>
            <pc:sldMk cId="341005070" sldId="283"/>
            <ac:spMk id="10" creationId="{48D49D1F-90A9-C130-BD65-373DC6F0A794}"/>
          </ac:spMkLst>
        </pc:spChg>
        <pc:spChg chg="mod">
          <ac:chgData name="Anastasia Droungani" userId="09c5df22-b6e2-4fe6-8272-4621f65e032c" providerId="ADAL" clId="{F8782ACA-4B20-455C-A66B-D7BDA2B7F5EC}" dt="2025-12-05T11:02:56.362" v="97" actId="20577"/>
          <ac:spMkLst>
            <pc:docMk/>
            <pc:sldMk cId="341005070" sldId="283"/>
            <ac:spMk id="11" creationId="{7A28FD6A-B6B5-94C0-032A-EAE59D625E7A}"/>
          </ac:spMkLst>
        </pc:spChg>
        <pc:spChg chg="mod">
          <ac:chgData name="Anastasia Droungani" userId="09c5df22-b6e2-4fe6-8272-4621f65e032c" providerId="ADAL" clId="{F8782ACA-4B20-455C-A66B-D7BDA2B7F5EC}" dt="2025-12-05T11:02:59.452" v="99" actId="20577"/>
          <ac:spMkLst>
            <pc:docMk/>
            <pc:sldMk cId="341005070" sldId="283"/>
            <ac:spMk id="12" creationId="{EC817C21-F506-A247-EFB8-FAB9727ADE8B}"/>
          </ac:spMkLst>
        </pc:spChg>
        <pc:spChg chg="del">
          <ac:chgData name="Anastasia Droungani" userId="09c5df22-b6e2-4fe6-8272-4621f65e032c" providerId="ADAL" clId="{F8782ACA-4B20-455C-A66B-D7BDA2B7F5EC}" dt="2025-12-05T11:03:02.709" v="100" actId="478"/>
          <ac:spMkLst>
            <pc:docMk/>
            <pc:sldMk cId="341005070" sldId="283"/>
            <ac:spMk id="13" creationId="{CFF9A9A0-8070-2D2E-DEC0-CF69FDAE47B6}"/>
          </ac:spMkLst>
        </pc:spChg>
        <pc:spChg chg="mod">
          <ac:chgData name="Anastasia Droungani" userId="09c5df22-b6e2-4fe6-8272-4621f65e032c" providerId="ADAL" clId="{F8782ACA-4B20-455C-A66B-D7BDA2B7F5EC}" dt="2025-12-05T11:03:16.020" v="104" actId="20577"/>
          <ac:spMkLst>
            <pc:docMk/>
            <pc:sldMk cId="341005070" sldId="283"/>
            <ac:spMk id="14" creationId="{9DC49C5B-1594-4AB4-E68E-B9729A15E986}"/>
          </ac:spMkLst>
        </pc:spChg>
        <pc:spChg chg="add del mod">
          <ac:chgData name="Anastasia Droungani" userId="09c5df22-b6e2-4fe6-8272-4621f65e032c" providerId="ADAL" clId="{F8782ACA-4B20-455C-A66B-D7BDA2B7F5EC}" dt="2025-12-05T11:02:27.716" v="91" actId="478"/>
          <ac:spMkLst>
            <pc:docMk/>
            <pc:sldMk cId="341005070" sldId="283"/>
            <ac:spMk id="18" creationId="{6F19970E-DBDE-98D5-C68F-940189810F0A}"/>
          </ac:spMkLst>
        </pc:spChg>
        <pc:spChg chg="add del mod">
          <ac:chgData name="Anastasia Droungani" userId="09c5df22-b6e2-4fe6-8272-4621f65e032c" providerId="ADAL" clId="{F8782ACA-4B20-455C-A66B-D7BDA2B7F5EC}" dt="2025-12-05T11:02:27.716" v="91" actId="478"/>
          <ac:spMkLst>
            <pc:docMk/>
            <pc:sldMk cId="341005070" sldId="283"/>
            <ac:spMk id="20" creationId="{632662F7-712A-8CA8-182D-E45356642465}"/>
          </ac:spMkLst>
        </pc:spChg>
        <pc:spChg chg="add del mod">
          <ac:chgData name="Anastasia Droungani" userId="09c5df22-b6e2-4fe6-8272-4621f65e032c" providerId="ADAL" clId="{F8782ACA-4B20-455C-A66B-D7BDA2B7F5EC}" dt="2025-12-05T11:03:06.243" v="101" actId="478"/>
          <ac:spMkLst>
            <pc:docMk/>
            <pc:sldMk cId="341005070" sldId="283"/>
            <ac:spMk id="22" creationId="{D23E3F30-651C-3CA5-4CF0-28B6DBC26187}"/>
          </ac:spMkLst>
        </pc:spChg>
        <pc:spChg chg="add del mod">
          <ac:chgData name="Anastasia Droungani" userId="09c5df22-b6e2-4fe6-8272-4621f65e032c" providerId="ADAL" clId="{F8782ACA-4B20-455C-A66B-D7BDA2B7F5EC}" dt="2025-12-05T11:03:06.243" v="101" actId="478"/>
          <ac:spMkLst>
            <pc:docMk/>
            <pc:sldMk cId="341005070" sldId="283"/>
            <ac:spMk id="25" creationId="{16B5A1AB-24AA-3BBE-2EF8-7D4081F2C0C6}"/>
          </ac:spMkLst>
        </pc:spChg>
      </pc:sldChg>
      <pc:sldChg chg="del">
        <pc:chgData name="Anastasia Droungani" userId="09c5df22-b6e2-4fe6-8272-4621f65e032c" providerId="ADAL" clId="{F8782ACA-4B20-455C-A66B-D7BDA2B7F5EC}" dt="2025-12-05T11:04:49.710" v="126" actId="2696"/>
        <pc:sldMkLst>
          <pc:docMk/>
          <pc:sldMk cId="1500307525" sldId="284"/>
        </pc:sldMkLst>
      </pc:sldChg>
      <pc:sldChg chg="addSp delSp modSp mod">
        <pc:chgData name="Anastasia Droungani" userId="09c5df22-b6e2-4fe6-8272-4621f65e032c" providerId="ADAL" clId="{F8782ACA-4B20-455C-A66B-D7BDA2B7F5EC}" dt="2025-12-05T11:05:46.197" v="141" actId="20577"/>
        <pc:sldMkLst>
          <pc:docMk/>
          <pc:sldMk cId="2130534518" sldId="285"/>
        </pc:sldMkLst>
        <pc:spChg chg="del">
          <ac:chgData name="Anastasia Droungani" userId="09c5df22-b6e2-4fe6-8272-4621f65e032c" providerId="ADAL" clId="{F8782ACA-4B20-455C-A66B-D7BDA2B7F5EC}" dt="2025-12-05T11:04:55.676" v="127" actId="478"/>
          <ac:spMkLst>
            <pc:docMk/>
            <pc:sldMk cId="2130534518" sldId="285"/>
            <ac:spMk id="4" creationId="{6FF74D9D-768D-54D7-3E03-C0E737DE7929}"/>
          </ac:spMkLst>
        </pc:spChg>
        <pc:spChg chg="mod">
          <ac:chgData name="Anastasia Droungani" userId="09c5df22-b6e2-4fe6-8272-4621f65e032c" providerId="ADAL" clId="{F8782ACA-4B20-455C-A66B-D7BDA2B7F5EC}" dt="2025-12-05T11:05:09.422" v="130" actId="1076"/>
          <ac:spMkLst>
            <pc:docMk/>
            <pc:sldMk cId="2130534518" sldId="285"/>
            <ac:spMk id="5" creationId="{814434B7-6D94-E40F-8C32-380153115AEC}"/>
          </ac:spMkLst>
        </pc:spChg>
        <pc:spChg chg="mod">
          <ac:chgData name="Anastasia Droungani" userId="09c5df22-b6e2-4fe6-8272-4621f65e032c" providerId="ADAL" clId="{F8782ACA-4B20-455C-A66B-D7BDA2B7F5EC}" dt="2025-12-05T11:05:09.422" v="130" actId="1076"/>
          <ac:spMkLst>
            <pc:docMk/>
            <pc:sldMk cId="2130534518" sldId="285"/>
            <ac:spMk id="6" creationId="{8D3BCC5C-D989-4DF9-713D-2591D36C58FB}"/>
          </ac:spMkLst>
        </pc:spChg>
        <pc:spChg chg="del mod">
          <ac:chgData name="Anastasia Droungani" userId="09c5df22-b6e2-4fe6-8272-4621f65e032c" providerId="ADAL" clId="{F8782ACA-4B20-455C-A66B-D7BDA2B7F5EC}" dt="2025-12-05T11:05:25.378" v="137" actId="478"/>
          <ac:spMkLst>
            <pc:docMk/>
            <pc:sldMk cId="2130534518" sldId="285"/>
            <ac:spMk id="7" creationId="{E7B05098-2C0E-D406-111F-1420600E1321}"/>
          </ac:spMkLst>
        </pc:spChg>
        <pc:spChg chg="mod">
          <ac:chgData name="Anastasia Droungani" userId="09c5df22-b6e2-4fe6-8272-4621f65e032c" providerId="ADAL" clId="{F8782ACA-4B20-455C-A66B-D7BDA2B7F5EC}" dt="2025-12-05T11:05:34.284" v="139" actId="1076"/>
          <ac:spMkLst>
            <pc:docMk/>
            <pc:sldMk cId="2130534518" sldId="285"/>
            <ac:spMk id="8" creationId="{129FC6A7-981A-F1C1-B996-0209F52859A5}"/>
          </ac:spMkLst>
        </pc:spChg>
        <pc:spChg chg="del">
          <ac:chgData name="Anastasia Droungani" userId="09c5df22-b6e2-4fe6-8272-4621f65e032c" providerId="ADAL" clId="{F8782ACA-4B20-455C-A66B-D7BDA2B7F5EC}" dt="2025-12-05T11:04:55.676" v="127" actId="478"/>
          <ac:spMkLst>
            <pc:docMk/>
            <pc:sldMk cId="2130534518" sldId="285"/>
            <ac:spMk id="10" creationId="{AA1012AE-E61E-8273-7727-2756CFD7A59C}"/>
          </ac:spMkLst>
        </pc:spChg>
        <pc:spChg chg="mod">
          <ac:chgData name="Anastasia Droungani" userId="09c5df22-b6e2-4fe6-8272-4621f65e032c" providerId="ADAL" clId="{F8782ACA-4B20-455C-A66B-D7BDA2B7F5EC}" dt="2025-12-05T11:05:13.445" v="132" actId="20577"/>
          <ac:spMkLst>
            <pc:docMk/>
            <pc:sldMk cId="2130534518" sldId="285"/>
            <ac:spMk id="11" creationId="{1F262104-A00B-B5D6-AF78-12DE3CDB4B23}"/>
          </ac:spMkLst>
        </pc:spChg>
        <pc:spChg chg="mod">
          <ac:chgData name="Anastasia Droungani" userId="09c5df22-b6e2-4fe6-8272-4621f65e032c" providerId="ADAL" clId="{F8782ACA-4B20-455C-A66B-D7BDA2B7F5EC}" dt="2025-12-05T11:05:16.385" v="134" actId="20577"/>
          <ac:spMkLst>
            <pc:docMk/>
            <pc:sldMk cId="2130534518" sldId="285"/>
            <ac:spMk id="12" creationId="{60878467-6588-0E58-1B75-EBA89BED4648}"/>
          </ac:spMkLst>
        </pc:spChg>
        <pc:spChg chg="del mod">
          <ac:chgData name="Anastasia Droungani" userId="09c5df22-b6e2-4fe6-8272-4621f65e032c" providerId="ADAL" clId="{F8782ACA-4B20-455C-A66B-D7BDA2B7F5EC}" dt="2025-12-05T11:05:25.378" v="137" actId="478"/>
          <ac:spMkLst>
            <pc:docMk/>
            <pc:sldMk cId="2130534518" sldId="285"/>
            <ac:spMk id="13" creationId="{7C8AA798-044E-5CEA-05E8-B02C8DE44899}"/>
          </ac:spMkLst>
        </pc:spChg>
        <pc:spChg chg="mod">
          <ac:chgData name="Anastasia Droungani" userId="09c5df22-b6e2-4fe6-8272-4621f65e032c" providerId="ADAL" clId="{F8782ACA-4B20-455C-A66B-D7BDA2B7F5EC}" dt="2025-12-05T11:05:46.197" v="141" actId="20577"/>
          <ac:spMkLst>
            <pc:docMk/>
            <pc:sldMk cId="2130534518" sldId="285"/>
            <ac:spMk id="14" creationId="{329D2238-2372-A7F8-9C1F-F0D7B7AA655B}"/>
          </ac:spMkLst>
        </pc:spChg>
        <pc:spChg chg="add del mod">
          <ac:chgData name="Anastasia Droungani" userId="09c5df22-b6e2-4fe6-8272-4621f65e032c" providerId="ADAL" clId="{F8782ACA-4B20-455C-A66B-D7BDA2B7F5EC}" dt="2025-12-05T11:04:58.426" v="128" actId="478"/>
          <ac:spMkLst>
            <pc:docMk/>
            <pc:sldMk cId="2130534518" sldId="285"/>
            <ac:spMk id="18" creationId="{A5D2882D-A380-2254-5DD6-4F3B55E8E0A7}"/>
          </ac:spMkLst>
        </pc:spChg>
        <pc:spChg chg="add del mod">
          <ac:chgData name="Anastasia Droungani" userId="09c5df22-b6e2-4fe6-8272-4621f65e032c" providerId="ADAL" clId="{F8782ACA-4B20-455C-A66B-D7BDA2B7F5EC}" dt="2025-12-05T11:05:01.649" v="129" actId="478"/>
          <ac:spMkLst>
            <pc:docMk/>
            <pc:sldMk cId="2130534518" sldId="285"/>
            <ac:spMk id="20" creationId="{7F4DB886-F950-80C5-4254-ACC1559044AD}"/>
          </ac:spMkLst>
        </pc:spChg>
        <pc:spChg chg="add del mod">
          <ac:chgData name="Anastasia Droungani" userId="09c5df22-b6e2-4fe6-8272-4621f65e032c" providerId="ADAL" clId="{F8782ACA-4B20-455C-A66B-D7BDA2B7F5EC}" dt="2025-12-05T11:05:28.209" v="138" actId="478"/>
          <ac:spMkLst>
            <pc:docMk/>
            <pc:sldMk cId="2130534518" sldId="285"/>
            <ac:spMk id="22" creationId="{41868B15-62CB-5010-CD91-1B4F38D9DE57}"/>
          </ac:spMkLst>
        </pc:spChg>
        <pc:spChg chg="add del mod">
          <ac:chgData name="Anastasia Droungani" userId="09c5df22-b6e2-4fe6-8272-4621f65e032c" providerId="ADAL" clId="{F8782ACA-4B20-455C-A66B-D7BDA2B7F5EC}" dt="2025-12-05T11:05:28.209" v="138" actId="478"/>
          <ac:spMkLst>
            <pc:docMk/>
            <pc:sldMk cId="2130534518" sldId="285"/>
            <ac:spMk id="25" creationId="{78F46ADE-30D9-8352-1958-070B75B06DE1}"/>
          </ac:spMkLst>
        </pc:spChg>
      </pc:sldChg>
      <pc:sldChg chg="del">
        <pc:chgData name="Anastasia Droungani" userId="09c5df22-b6e2-4fe6-8272-4621f65e032c" providerId="ADAL" clId="{F8782ACA-4B20-455C-A66B-D7BDA2B7F5EC}" dt="2025-12-05T10:54:47.993" v="30" actId="2696"/>
        <pc:sldMkLst>
          <pc:docMk/>
          <pc:sldMk cId="1131586399" sldId="286"/>
        </pc:sldMkLst>
      </pc:sldChg>
      <pc:sldChg chg="modSp mod">
        <pc:chgData name="Anastasia Droungani" userId="09c5df22-b6e2-4fe6-8272-4621f65e032c" providerId="ADAL" clId="{F8782ACA-4B20-455C-A66B-D7BDA2B7F5EC}" dt="2025-12-05T11:01:00.164" v="77" actId="20577"/>
        <pc:sldMkLst>
          <pc:docMk/>
          <pc:sldMk cId="697823214" sldId="287"/>
        </pc:sldMkLst>
        <pc:spChg chg="mod">
          <ac:chgData name="Anastasia Droungani" userId="09c5df22-b6e2-4fe6-8272-4621f65e032c" providerId="ADAL" clId="{F8782ACA-4B20-455C-A66B-D7BDA2B7F5EC}" dt="2025-12-05T11:01:00.164" v="77" actId="20577"/>
          <ac:spMkLst>
            <pc:docMk/>
            <pc:sldMk cId="697823214" sldId="287"/>
            <ac:spMk id="22" creationId="{88E0CCD0-E0A5-9CD1-7846-40D9D75FC552}"/>
          </ac:spMkLst>
        </pc:spChg>
      </pc:sldChg>
      <pc:sldChg chg="modSp del mod">
        <pc:chgData name="Anastasia Droungani" userId="09c5df22-b6e2-4fe6-8272-4621f65e032c" providerId="ADAL" clId="{F8782ACA-4B20-455C-A66B-D7BDA2B7F5EC}" dt="2025-12-05T11:08:14.146" v="149" actId="2696"/>
        <pc:sldMkLst>
          <pc:docMk/>
          <pc:sldMk cId="59234304" sldId="288"/>
        </pc:sldMkLst>
        <pc:spChg chg="mod">
          <ac:chgData name="Anastasia Droungani" userId="09c5df22-b6e2-4fe6-8272-4621f65e032c" providerId="ADAL" clId="{F8782ACA-4B20-455C-A66B-D7BDA2B7F5EC}" dt="2025-12-05T11:01:11.163" v="79" actId="20577"/>
          <ac:spMkLst>
            <pc:docMk/>
            <pc:sldMk cId="59234304" sldId="288"/>
            <ac:spMk id="6" creationId="{F02896D9-9336-8471-A469-0F5AED69923E}"/>
          </ac:spMkLst>
        </pc:spChg>
      </pc:sldChg>
      <pc:sldChg chg="modSp mod">
        <pc:chgData name="Anastasia Droungani" userId="09c5df22-b6e2-4fe6-8272-4621f65e032c" providerId="ADAL" clId="{F8782ACA-4B20-455C-A66B-D7BDA2B7F5EC}" dt="2025-12-05T11:01:34.957" v="83" actId="20577"/>
        <pc:sldMkLst>
          <pc:docMk/>
          <pc:sldMk cId="4238077145" sldId="289"/>
        </pc:sldMkLst>
        <pc:spChg chg="mod">
          <ac:chgData name="Anastasia Droungani" userId="09c5df22-b6e2-4fe6-8272-4621f65e032c" providerId="ADAL" clId="{F8782ACA-4B20-455C-A66B-D7BDA2B7F5EC}" dt="2025-12-05T11:01:34.957" v="83" actId="20577"/>
          <ac:spMkLst>
            <pc:docMk/>
            <pc:sldMk cId="4238077145" sldId="289"/>
            <ac:spMk id="8" creationId="{7234CCAF-19E0-05BF-38EE-2656C06338F3}"/>
          </ac:spMkLst>
        </pc:spChg>
      </pc:sldChg>
      <pc:sldChg chg="modSp mod">
        <pc:chgData name="Anastasia Droungani" userId="09c5df22-b6e2-4fe6-8272-4621f65e032c" providerId="ADAL" clId="{F8782ACA-4B20-455C-A66B-D7BDA2B7F5EC}" dt="2025-12-05T11:01:38.744" v="85" actId="20577"/>
        <pc:sldMkLst>
          <pc:docMk/>
          <pc:sldMk cId="326105235" sldId="290"/>
        </pc:sldMkLst>
        <pc:spChg chg="mod">
          <ac:chgData name="Anastasia Droungani" userId="09c5df22-b6e2-4fe6-8272-4621f65e032c" providerId="ADAL" clId="{F8782ACA-4B20-455C-A66B-D7BDA2B7F5EC}" dt="2025-12-05T11:01:38.744" v="85" actId="20577"/>
          <ac:spMkLst>
            <pc:docMk/>
            <pc:sldMk cId="326105235" sldId="290"/>
            <ac:spMk id="5" creationId="{C16D0145-84C7-9909-60F8-EAA5B3C4C414}"/>
          </ac:spMkLst>
        </pc:spChg>
      </pc:sldChg>
      <pc:sldChg chg="modSp mod">
        <pc:chgData name="Anastasia Droungani" userId="09c5df22-b6e2-4fe6-8272-4621f65e032c" providerId="ADAL" clId="{F8782ACA-4B20-455C-A66B-D7BDA2B7F5EC}" dt="2025-12-05T11:02:12.884" v="89" actId="20577"/>
        <pc:sldMkLst>
          <pc:docMk/>
          <pc:sldMk cId="4150130818" sldId="292"/>
        </pc:sldMkLst>
        <pc:spChg chg="mod">
          <ac:chgData name="Anastasia Droungani" userId="09c5df22-b6e2-4fe6-8272-4621f65e032c" providerId="ADAL" clId="{F8782ACA-4B20-455C-A66B-D7BDA2B7F5EC}" dt="2025-12-05T11:02:12.884" v="89" actId="20577"/>
          <ac:spMkLst>
            <pc:docMk/>
            <pc:sldMk cId="4150130818" sldId="292"/>
            <ac:spMk id="5" creationId="{F4E59031-191B-102E-2DD1-A5F43B3D2546}"/>
          </ac:spMkLst>
        </pc:spChg>
      </pc:sldChg>
      <pc:sldChg chg="modSp mod">
        <pc:chgData name="Anastasia Droungani" userId="09c5df22-b6e2-4fe6-8272-4621f65e032c" providerId="ADAL" clId="{F8782ACA-4B20-455C-A66B-D7BDA2B7F5EC}" dt="2025-12-05T11:03:26.431" v="106" actId="20577"/>
        <pc:sldMkLst>
          <pc:docMk/>
          <pc:sldMk cId="724000526" sldId="293"/>
        </pc:sldMkLst>
        <pc:spChg chg="mod">
          <ac:chgData name="Anastasia Droungani" userId="09c5df22-b6e2-4fe6-8272-4621f65e032c" providerId="ADAL" clId="{F8782ACA-4B20-455C-A66B-D7BDA2B7F5EC}" dt="2025-12-05T11:03:26.431" v="106" actId="20577"/>
          <ac:spMkLst>
            <pc:docMk/>
            <pc:sldMk cId="724000526" sldId="293"/>
            <ac:spMk id="18" creationId="{28C26E29-BA16-D219-0B97-6AC32943EFA1}"/>
          </ac:spMkLst>
        </pc:spChg>
      </pc:sldChg>
      <pc:sldChg chg="del">
        <pc:chgData name="Anastasia Droungani" userId="09c5df22-b6e2-4fe6-8272-4621f65e032c" providerId="ADAL" clId="{F8782ACA-4B20-455C-A66B-D7BDA2B7F5EC}" dt="2025-12-05T11:04:26.306" v="121" actId="2696"/>
        <pc:sldMkLst>
          <pc:docMk/>
          <pc:sldMk cId="3757314049" sldId="294"/>
        </pc:sldMkLst>
      </pc:sldChg>
      <pc:sldChg chg="modSp mod">
        <pc:chgData name="Anastasia Droungani" userId="09c5df22-b6e2-4fe6-8272-4621f65e032c" providerId="ADAL" clId="{F8782ACA-4B20-455C-A66B-D7BDA2B7F5EC}" dt="2025-12-05T11:03:44.482" v="110" actId="20577"/>
        <pc:sldMkLst>
          <pc:docMk/>
          <pc:sldMk cId="2241444146" sldId="295"/>
        </pc:sldMkLst>
        <pc:spChg chg="mod">
          <ac:chgData name="Anastasia Droungani" userId="09c5df22-b6e2-4fe6-8272-4621f65e032c" providerId="ADAL" clId="{F8782ACA-4B20-455C-A66B-D7BDA2B7F5EC}" dt="2025-12-05T11:03:44.482" v="110" actId="20577"/>
          <ac:spMkLst>
            <pc:docMk/>
            <pc:sldMk cId="2241444146" sldId="295"/>
            <ac:spMk id="5" creationId="{6E9B5A30-A6B5-F71E-C085-A84D969F543C}"/>
          </ac:spMkLst>
        </pc:spChg>
      </pc:sldChg>
      <pc:sldChg chg="modSp mod">
        <pc:chgData name="Anastasia Droungani" userId="09c5df22-b6e2-4fe6-8272-4621f65e032c" providerId="ADAL" clId="{F8782ACA-4B20-455C-A66B-D7BDA2B7F5EC}" dt="2025-12-05T11:03:50.556" v="112" actId="20577"/>
        <pc:sldMkLst>
          <pc:docMk/>
          <pc:sldMk cId="162752291" sldId="296"/>
        </pc:sldMkLst>
        <pc:spChg chg="mod">
          <ac:chgData name="Anastasia Droungani" userId="09c5df22-b6e2-4fe6-8272-4621f65e032c" providerId="ADAL" clId="{F8782ACA-4B20-455C-A66B-D7BDA2B7F5EC}" dt="2025-12-05T11:03:50.556" v="112" actId="20577"/>
          <ac:spMkLst>
            <pc:docMk/>
            <pc:sldMk cId="162752291" sldId="296"/>
            <ac:spMk id="6" creationId="{CEE1F9F3-FF11-4CF5-AA66-BD1F142C8786}"/>
          </ac:spMkLst>
        </pc:spChg>
      </pc:sldChg>
      <pc:sldChg chg="modSp mod">
        <pc:chgData name="Anastasia Droungani" userId="09c5df22-b6e2-4fe6-8272-4621f65e032c" providerId="ADAL" clId="{F8782ACA-4B20-455C-A66B-D7BDA2B7F5EC}" dt="2025-12-05T11:03:57.698" v="114" actId="20577"/>
        <pc:sldMkLst>
          <pc:docMk/>
          <pc:sldMk cId="2693774891" sldId="297"/>
        </pc:sldMkLst>
        <pc:spChg chg="mod">
          <ac:chgData name="Anastasia Droungani" userId="09c5df22-b6e2-4fe6-8272-4621f65e032c" providerId="ADAL" clId="{F8782ACA-4B20-455C-A66B-D7BDA2B7F5EC}" dt="2025-12-05T11:03:57.698" v="114" actId="20577"/>
          <ac:spMkLst>
            <pc:docMk/>
            <pc:sldMk cId="2693774891" sldId="297"/>
            <ac:spMk id="6" creationId="{30658CDC-592F-C2A8-4F06-D10052DDA132}"/>
          </ac:spMkLst>
        </pc:spChg>
      </pc:sldChg>
      <pc:sldChg chg="modSp mod">
        <pc:chgData name="Anastasia Droungani" userId="09c5df22-b6e2-4fe6-8272-4621f65e032c" providerId="ADAL" clId="{F8782ACA-4B20-455C-A66B-D7BDA2B7F5EC}" dt="2025-12-05T11:04:02.512" v="116" actId="20577"/>
        <pc:sldMkLst>
          <pc:docMk/>
          <pc:sldMk cId="2318062954" sldId="298"/>
        </pc:sldMkLst>
        <pc:spChg chg="mod">
          <ac:chgData name="Anastasia Droungani" userId="09c5df22-b6e2-4fe6-8272-4621f65e032c" providerId="ADAL" clId="{F8782ACA-4B20-455C-A66B-D7BDA2B7F5EC}" dt="2025-12-05T11:04:02.512" v="116" actId="20577"/>
          <ac:spMkLst>
            <pc:docMk/>
            <pc:sldMk cId="2318062954" sldId="298"/>
            <ac:spMk id="5" creationId="{2FE1CA22-D8EA-677C-132B-6B75399DB4E7}"/>
          </ac:spMkLst>
        </pc:spChg>
      </pc:sldChg>
      <pc:sldChg chg="modSp mod">
        <pc:chgData name="Anastasia Droungani" userId="09c5df22-b6e2-4fe6-8272-4621f65e032c" providerId="ADAL" clId="{F8782ACA-4B20-455C-A66B-D7BDA2B7F5EC}" dt="2025-12-05T11:04:06.440" v="118" actId="20577"/>
        <pc:sldMkLst>
          <pc:docMk/>
          <pc:sldMk cId="533139067" sldId="299"/>
        </pc:sldMkLst>
        <pc:spChg chg="mod">
          <ac:chgData name="Anastasia Droungani" userId="09c5df22-b6e2-4fe6-8272-4621f65e032c" providerId="ADAL" clId="{F8782ACA-4B20-455C-A66B-D7BDA2B7F5EC}" dt="2025-12-05T11:04:06.440" v="118" actId="20577"/>
          <ac:spMkLst>
            <pc:docMk/>
            <pc:sldMk cId="533139067" sldId="299"/>
            <ac:spMk id="8" creationId="{21E3FAF3-5376-841A-639E-E0CEE080CCA6}"/>
          </ac:spMkLst>
        </pc:spChg>
      </pc:sldChg>
      <pc:sldChg chg="modSp mod">
        <pc:chgData name="Anastasia Droungani" userId="09c5df22-b6e2-4fe6-8272-4621f65e032c" providerId="ADAL" clId="{F8782ACA-4B20-455C-A66B-D7BDA2B7F5EC}" dt="2025-12-05T11:04:13.559" v="120" actId="20577"/>
        <pc:sldMkLst>
          <pc:docMk/>
          <pc:sldMk cId="2281796681" sldId="300"/>
        </pc:sldMkLst>
        <pc:spChg chg="mod">
          <ac:chgData name="Anastasia Droungani" userId="09c5df22-b6e2-4fe6-8272-4621f65e032c" providerId="ADAL" clId="{F8782ACA-4B20-455C-A66B-D7BDA2B7F5EC}" dt="2025-12-05T11:04:13.559" v="120" actId="20577"/>
          <ac:spMkLst>
            <pc:docMk/>
            <pc:sldMk cId="2281796681" sldId="300"/>
            <ac:spMk id="7" creationId="{6C979E42-EB5C-E448-F521-EA03F4CB0D37}"/>
          </ac:spMkLst>
        </pc:spChg>
      </pc:sldChg>
      <pc:sldChg chg="del">
        <pc:chgData name="Anastasia Droungani" userId="09c5df22-b6e2-4fe6-8272-4621f65e032c" providerId="ADAL" clId="{F8782ACA-4B20-455C-A66B-D7BDA2B7F5EC}" dt="2025-12-05T11:04:26.306" v="121" actId="2696"/>
        <pc:sldMkLst>
          <pc:docMk/>
          <pc:sldMk cId="1739123747" sldId="301"/>
        </pc:sldMkLst>
      </pc:sldChg>
      <pc:sldChg chg="modSp mod">
        <pc:chgData name="Anastasia Droungani" userId="09c5df22-b6e2-4fe6-8272-4621f65e032c" providerId="ADAL" clId="{F8782ACA-4B20-455C-A66B-D7BDA2B7F5EC}" dt="2025-12-05T11:07:52.022" v="146" actId="20577"/>
        <pc:sldMkLst>
          <pc:docMk/>
          <pc:sldMk cId="555388330" sldId="302"/>
        </pc:sldMkLst>
        <pc:spChg chg="mod">
          <ac:chgData name="Anastasia Droungani" userId="09c5df22-b6e2-4fe6-8272-4621f65e032c" providerId="ADAL" clId="{F8782ACA-4B20-455C-A66B-D7BDA2B7F5EC}" dt="2025-12-05T11:07:52.022" v="146" actId="20577"/>
          <ac:spMkLst>
            <pc:docMk/>
            <pc:sldMk cId="555388330" sldId="302"/>
            <ac:spMk id="5" creationId="{6EC01858-7FB2-4180-1294-279E0ABE3097}"/>
          </ac:spMkLst>
        </pc:spChg>
      </pc:sldChg>
      <pc:sldChg chg="modSp mod">
        <pc:chgData name="Anastasia Droungani" userId="09c5df22-b6e2-4fe6-8272-4621f65e032c" providerId="ADAL" clId="{F8782ACA-4B20-455C-A66B-D7BDA2B7F5EC}" dt="2025-12-05T11:01:22.115" v="81" actId="20577"/>
        <pc:sldMkLst>
          <pc:docMk/>
          <pc:sldMk cId="1437147581" sldId="303"/>
        </pc:sldMkLst>
        <pc:spChg chg="mod">
          <ac:chgData name="Anastasia Droungani" userId="09c5df22-b6e2-4fe6-8272-4621f65e032c" providerId="ADAL" clId="{F8782ACA-4B20-455C-A66B-D7BDA2B7F5EC}" dt="2025-12-05T11:01:22.115" v="81" actId="20577"/>
          <ac:spMkLst>
            <pc:docMk/>
            <pc:sldMk cId="1437147581" sldId="303"/>
            <ac:spMk id="6" creationId="{B2D3B602-21A0-3460-1236-FB00DB85E253}"/>
          </ac:spMkLst>
        </pc:spChg>
      </pc:sldChg>
      <pc:sldChg chg="del">
        <pc:chgData name="Anastasia Droungani" userId="09c5df22-b6e2-4fe6-8272-4621f65e032c" providerId="ADAL" clId="{F8782ACA-4B20-455C-A66B-D7BDA2B7F5EC}" dt="2025-12-05T11:04:29.721" v="122" actId="2696"/>
        <pc:sldMkLst>
          <pc:docMk/>
          <pc:sldMk cId="2588375721" sldId="304"/>
        </pc:sldMkLst>
      </pc:sldChg>
      <pc:sldChg chg="del">
        <pc:chgData name="Anastasia Droungani" userId="09c5df22-b6e2-4fe6-8272-4621f65e032c" providerId="ADAL" clId="{F8782ACA-4B20-455C-A66B-D7BDA2B7F5EC}" dt="2025-12-05T11:04:32.463" v="123" actId="2696"/>
        <pc:sldMkLst>
          <pc:docMk/>
          <pc:sldMk cId="3235188897" sldId="305"/>
        </pc:sldMkLst>
      </pc:sldChg>
      <pc:sldChg chg="modSp del mod ord modCm">
        <pc:chgData name="Anastasia Droungani" userId="09c5df22-b6e2-4fe6-8272-4621f65e032c" providerId="ADAL" clId="{F8782ACA-4B20-455C-A66B-D7BDA2B7F5EC}" dt="2025-12-05T11:16:05.227" v="152" actId="2696"/>
        <pc:sldMkLst>
          <pc:docMk/>
          <pc:sldMk cId="3742068013" sldId="306"/>
        </pc:sldMkLst>
        <pc:spChg chg="mod">
          <ac:chgData name="Anastasia Droungani" userId="09c5df22-b6e2-4fe6-8272-4621f65e032c" providerId="ADAL" clId="{F8782ACA-4B20-455C-A66B-D7BDA2B7F5EC}" dt="2025-12-05T11:15:40.916" v="151" actId="20577"/>
          <ac:spMkLst>
            <pc:docMk/>
            <pc:sldMk cId="3742068013" sldId="306"/>
            <ac:spMk id="7" creationId="{82906BB6-037A-2538-9DAD-B848675EEA74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Anastasia Droungani" userId="09c5df22-b6e2-4fe6-8272-4621f65e032c" providerId="ADAL" clId="{F8782ACA-4B20-455C-A66B-D7BDA2B7F5EC}" dt="2025-12-05T11:15:40.916" v="151" actId="20577"/>
              <pc2:cmMkLst xmlns:pc2="http://schemas.microsoft.com/office/powerpoint/2019/9/main/command">
                <pc:docMk/>
                <pc:sldMk cId="3742068013" sldId="306"/>
                <pc2:cmMk id="{CE6A566F-4812-4A9B-BE27-042FBC158B68}"/>
              </pc2:cmMkLst>
            </pc226:cmChg>
          </p:ext>
        </pc:extLst>
      </pc:sldChg>
      <pc:sldChg chg="modSp mod">
        <pc:chgData name="Anastasia Droungani" userId="09c5df22-b6e2-4fe6-8272-4621f65e032c" providerId="ADAL" clId="{F8782ACA-4B20-455C-A66B-D7BDA2B7F5EC}" dt="2025-12-05T11:07:56.163" v="148" actId="20577"/>
        <pc:sldMkLst>
          <pc:docMk/>
          <pc:sldMk cId="4053433205" sldId="308"/>
        </pc:sldMkLst>
        <pc:spChg chg="mod">
          <ac:chgData name="Anastasia Droungani" userId="09c5df22-b6e2-4fe6-8272-4621f65e032c" providerId="ADAL" clId="{F8782ACA-4B20-455C-A66B-D7BDA2B7F5EC}" dt="2025-12-05T11:07:56.163" v="148" actId="20577"/>
          <ac:spMkLst>
            <pc:docMk/>
            <pc:sldMk cId="4053433205" sldId="308"/>
            <ac:spMk id="13" creationId="{D9276559-BE8B-24FD-21B1-F35B453B5DA7}"/>
          </ac:spMkLst>
        </pc:spChg>
      </pc:sldChg>
      <pc:sldChg chg="del">
        <pc:chgData name="Anastasia Droungani" userId="09c5df22-b6e2-4fe6-8272-4621f65e032c" providerId="ADAL" clId="{F8782ACA-4B20-455C-A66B-D7BDA2B7F5EC}" dt="2025-12-05T11:07:33.339" v="143" actId="2696"/>
        <pc:sldMkLst>
          <pc:docMk/>
          <pc:sldMk cId="331052666" sldId="309"/>
        </pc:sldMkLst>
      </pc:sldChg>
      <pc:sldChg chg="del">
        <pc:chgData name="Anastasia Droungani" userId="09c5df22-b6e2-4fe6-8272-4621f65e032c" providerId="ADAL" clId="{F8782ACA-4B20-455C-A66B-D7BDA2B7F5EC}" dt="2025-12-05T11:07:43.050" v="144" actId="2696"/>
        <pc:sldMkLst>
          <pc:docMk/>
          <pc:sldMk cId="1486428668" sldId="2147482970"/>
        </pc:sldMkLst>
      </pc:sldChg>
      <pc:sldChg chg="del">
        <pc:chgData name="Anastasia Droungani" userId="09c5df22-b6e2-4fe6-8272-4621f65e032c" providerId="ADAL" clId="{F8782ACA-4B20-455C-A66B-D7BDA2B7F5EC}" dt="2025-12-05T11:07:18.389" v="142" actId="2696"/>
        <pc:sldMkLst>
          <pc:docMk/>
          <pc:sldMk cId="2579457050" sldId="2147483110"/>
        </pc:sldMkLst>
      </pc:sldChg>
      <pc:sldChg chg="modSp mod">
        <pc:chgData name="Anastasia Droungani" userId="09c5df22-b6e2-4fe6-8272-4621f65e032c" providerId="ADAL" clId="{F8782ACA-4B20-455C-A66B-D7BDA2B7F5EC}" dt="2025-12-05T11:01:43.231" v="87" actId="20577"/>
        <pc:sldMkLst>
          <pc:docMk/>
          <pc:sldMk cId="1939628419" sldId="2147483353"/>
        </pc:sldMkLst>
        <pc:spChg chg="mod">
          <ac:chgData name="Anastasia Droungani" userId="09c5df22-b6e2-4fe6-8272-4621f65e032c" providerId="ADAL" clId="{F8782ACA-4B20-455C-A66B-D7BDA2B7F5EC}" dt="2025-12-05T11:01:43.231" v="87" actId="20577"/>
          <ac:spMkLst>
            <pc:docMk/>
            <pc:sldMk cId="1939628419" sldId="2147483353"/>
            <ac:spMk id="5" creationId="{BF83E5F2-04A0-468D-916B-FFC2CB5EDD06}"/>
          </ac:spMkLst>
        </pc:spChg>
      </pc:sldChg>
    </pc:docChg>
  </pc:docChgLst>
</pc:chgInfo>
</file>

<file path=ppt/comments/modernComment_124_F75DF88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98165F6-EBC2-43AF-A11F-24CBB6117FE5}" authorId="{FDC7F346-4312-36AF-0FF5-21C8082AB47A}" status="resolved" created="2025-09-16T12:44:08.753" complete="100000">
    <pc:sldMkLst xmlns:pc="http://schemas.microsoft.com/office/powerpoint/2013/main/command">
      <pc:docMk/>
      <pc:sldMk cId="4150130818" sldId="292"/>
    </pc:sldMkLst>
    <p188:txBody>
      <a:bodyPr/>
      <a:lstStyle/>
      <a:p>
        <a:r>
          <a:rPr lang="en-US"/>
          <a:t>Remove asterix on VP500 if no note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12/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A91AF1-AD3D-A4B9-5A3D-2FB60D9901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F7D1860C-94DD-E197-D740-927AC9AB48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76E5C76F-ED20-D6A9-25A5-29314C10C1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C10260F-92B9-83D3-377B-CDF0F87ABD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5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6185331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2A3D3C40-CD78-0BA7-FD2B-413603CE2593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7" name="Picture 6" descr="Text, logo&#10;&#10;Description automatically generated">
            <a:extLst>
              <a:ext uri="{FF2B5EF4-FFF2-40B4-BE49-F238E27FC236}">
                <a16:creationId xmlns:a16="http://schemas.microsoft.com/office/drawing/2014/main" id="{09A17B21-9D87-F2D6-6AE8-2A20B7F7C07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16812" y="2619513"/>
            <a:ext cx="4758375" cy="1618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732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24_F75DF882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if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3.xml"/><Relationship Id="rId5" Type="http://schemas.openxmlformats.org/officeDocument/2006/relationships/image" Target="../media/image5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tiff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7">
            <a:extLst>
              <a:ext uri="{FF2B5EF4-FFF2-40B4-BE49-F238E27FC236}">
                <a16:creationId xmlns:a16="http://schemas.microsoft.com/office/drawing/2014/main" id="{68D0C2E4-4634-A1D8-48CD-D3912C43B00F}"/>
              </a:ext>
            </a:extLst>
          </p:cNvPr>
          <p:cNvSpPr/>
          <p:nvPr/>
        </p:nvSpPr>
        <p:spPr>
          <a:xfrm>
            <a:off x="0" y="-80686"/>
            <a:ext cx="12192000" cy="63544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l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l" sz="2000" noProof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E0AE5F-C214-0EC4-D59E-35B215E4351F}"/>
              </a:ext>
            </a:extLst>
          </p:cNvPr>
          <p:cNvSpPr/>
          <p:nvPr/>
        </p:nvSpPr>
        <p:spPr>
          <a:xfrm>
            <a:off x="0" y="-80685"/>
            <a:ext cx="12192000" cy="3543300"/>
          </a:xfrm>
          <a:prstGeom prst="rect">
            <a:avLst/>
          </a:prstGeom>
          <a:gradFill>
            <a:gsLst>
              <a:gs pos="0">
                <a:schemeClr val="tx1">
                  <a:alpha val="42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l" sz="2000" noProof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3182C7-044B-2D72-AE3B-1EEDC6E38507}"/>
              </a:ext>
            </a:extLst>
          </p:cNvPr>
          <p:cNvSpPr/>
          <p:nvPr/>
        </p:nvSpPr>
        <p:spPr>
          <a:xfrm>
            <a:off x="0" y="-80685"/>
            <a:ext cx="12192000" cy="3860800"/>
          </a:xfrm>
          <a:prstGeom prst="rect">
            <a:avLst/>
          </a:prstGeom>
          <a:gradFill>
            <a:gsLst>
              <a:gs pos="0">
                <a:schemeClr val="tx1">
                  <a:alpha val="85000"/>
                </a:schemeClr>
              </a:gs>
              <a:gs pos="100000">
                <a:schemeClr val="tx1">
                  <a:alpha val="0"/>
                </a:schemeClr>
              </a:gs>
              <a:gs pos="62000">
                <a:schemeClr val="tx1">
                  <a:alpha val="25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l" sz="2000" noProof="0">
              <a:solidFill>
                <a:schemeClr val="tx1"/>
              </a:solidFill>
            </a:endParaRPr>
          </a:p>
        </p:txBody>
      </p:sp>
      <p:sp>
        <p:nvSpPr>
          <p:cNvPr id="19" name="Title 2">
            <a:extLst>
              <a:ext uri="{FF2B5EF4-FFF2-40B4-BE49-F238E27FC236}">
                <a16:creationId xmlns:a16="http://schemas.microsoft.com/office/drawing/2014/main" id="{E0C0309B-001C-2D19-E950-445B44EBA4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958509"/>
            <a:ext cx="3725022" cy="1292662"/>
          </a:xfrm>
        </p:spPr>
        <p:txBody>
          <a:bodyPr vert="horz">
            <a:spAutoFit/>
          </a:bodyPr>
          <a:lstStyle/>
          <a:p>
            <a:pPr algn="l" rtl="0">
              <a:lnSpc>
                <a:spcPct val="100000"/>
              </a:lnSpc>
            </a:pPr>
            <a:r>
              <a:rPr lang="el" sz="2800" b="1" i="0" u="none" baseline="0" dirty="0"/>
              <a:t>Nilfisk VP700</a:t>
            </a:r>
            <a:br>
              <a:rPr lang="el" sz="2800" dirty="0"/>
            </a:br>
            <a:r>
              <a:rPr lang="el" sz="1400" b="0" i="1" u="none" baseline="0" dirty="0">
                <a:latin typeface="+mn-lt"/>
                <a:ea typeface="+mn-lt"/>
                <a:cs typeface="+mn-lt"/>
              </a:rPr>
              <a:t>Επαγγελματικές απορροφητικές σκούπες στερεών</a:t>
            </a:r>
            <a:br>
              <a:rPr lang="el" sz="2000" b="0" dirty="0">
                <a:latin typeface="+mn-lt"/>
              </a:rPr>
            </a:br>
            <a:endParaRPr lang="el" sz="2800" noProof="0" dirty="0"/>
          </a:p>
        </p:txBody>
      </p:sp>
      <p:pic>
        <p:nvPicPr>
          <p:cNvPr id="20" name="Picture 19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A1D27584-5EAA-ADE3-B132-5F35EC79F7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9755" y="1279446"/>
            <a:ext cx="3829231" cy="4366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31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D3B02A4-48C3-5C8F-30A4-0CFFC8E14F8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A04155-27C1-1C25-2F1F-6DD61CC2683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0</a:t>
            </a:fld>
            <a:endParaRPr lang="el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295160-15C5-5717-1C5A-33DE3CCF49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πισκόπηση μοντέλων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16D0145-84C7-9909-60F8-EAA5B3C4C4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b="1" i="0" u="none" baseline="0" dirty="0"/>
              <a:t>2</a:t>
            </a:r>
            <a:r>
              <a:rPr lang="el" b="1" i="0" u="none" baseline="0" dirty="0"/>
              <a:t> | Τεχνικές προδιαγραφές VP700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C1FE1FD-A665-B432-88DB-08EC46C27B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964865"/>
              </p:ext>
            </p:extLst>
          </p:nvPr>
        </p:nvGraphicFramePr>
        <p:xfrm>
          <a:off x="481376" y="1250333"/>
          <a:ext cx="9833877" cy="48436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57085">
                  <a:extLst>
                    <a:ext uri="{9D8B030D-6E8A-4147-A177-3AD203B41FA5}">
                      <a16:colId xmlns:a16="http://schemas.microsoft.com/office/drawing/2014/main" val="3816420497"/>
                    </a:ext>
                  </a:extLst>
                </a:gridCol>
                <a:gridCol w="756077">
                  <a:extLst>
                    <a:ext uri="{9D8B030D-6E8A-4147-A177-3AD203B41FA5}">
                      <a16:colId xmlns:a16="http://schemas.microsoft.com/office/drawing/2014/main" val="1444173945"/>
                    </a:ext>
                  </a:extLst>
                </a:gridCol>
                <a:gridCol w="1512154">
                  <a:extLst>
                    <a:ext uri="{9D8B030D-6E8A-4147-A177-3AD203B41FA5}">
                      <a16:colId xmlns:a16="http://schemas.microsoft.com/office/drawing/2014/main" val="2056791366"/>
                    </a:ext>
                  </a:extLst>
                </a:gridCol>
                <a:gridCol w="108011">
                  <a:extLst>
                    <a:ext uri="{9D8B030D-6E8A-4147-A177-3AD203B41FA5}">
                      <a16:colId xmlns:a16="http://schemas.microsoft.com/office/drawing/2014/main" val="173202239"/>
                    </a:ext>
                  </a:extLst>
                </a:gridCol>
                <a:gridCol w="1296132">
                  <a:extLst>
                    <a:ext uri="{9D8B030D-6E8A-4147-A177-3AD203B41FA5}">
                      <a16:colId xmlns:a16="http://schemas.microsoft.com/office/drawing/2014/main" val="3955012127"/>
                    </a:ext>
                  </a:extLst>
                </a:gridCol>
                <a:gridCol w="1296132">
                  <a:extLst>
                    <a:ext uri="{9D8B030D-6E8A-4147-A177-3AD203B41FA5}">
                      <a16:colId xmlns:a16="http://schemas.microsoft.com/office/drawing/2014/main" val="3010540579"/>
                    </a:ext>
                  </a:extLst>
                </a:gridCol>
                <a:gridCol w="1296132">
                  <a:extLst>
                    <a:ext uri="{9D8B030D-6E8A-4147-A177-3AD203B41FA5}">
                      <a16:colId xmlns:a16="http://schemas.microsoft.com/office/drawing/2014/main" val="68221026"/>
                    </a:ext>
                  </a:extLst>
                </a:gridCol>
                <a:gridCol w="1296132">
                  <a:extLst>
                    <a:ext uri="{9D8B030D-6E8A-4147-A177-3AD203B41FA5}">
                      <a16:colId xmlns:a16="http://schemas.microsoft.com/office/drawing/2014/main" val="3878874852"/>
                    </a:ext>
                  </a:extLst>
                </a:gridCol>
                <a:gridCol w="108011">
                  <a:extLst>
                    <a:ext uri="{9D8B030D-6E8A-4147-A177-3AD203B41FA5}">
                      <a16:colId xmlns:a16="http://schemas.microsoft.com/office/drawing/2014/main" val="2590629152"/>
                    </a:ext>
                  </a:extLst>
                </a:gridCol>
                <a:gridCol w="108011">
                  <a:extLst>
                    <a:ext uri="{9D8B030D-6E8A-4147-A177-3AD203B41FA5}">
                      <a16:colId xmlns:a16="http://schemas.microsoft.com/office/drawing/2014/main" val="3861256954"/>
                    </a:ext>
                  </a:extLst>
                </a:gridCol>
              </a:tblGrid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Έκδοση χώρας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5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6" marR="6126" marT="6126" marB="9144" anchor="b">
                    <a:lnR w="12700" cmpd="sng">
                      <a:noFill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ΕΕ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0980975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B w="12700" cmpd="sng"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ριθμός είδους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5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6" marR="6126" marT="6126" marB="9144" anchor="b"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7421185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7421184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7421187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7421189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3982179"/>
                  </a:ext>
                </a:extLst>
              </a:tr>
              <a:tr h="234618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+mn-cs"/>
                        </a:rPr>
                        <a:t>Περιγραφή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+mn-cs"/>
                        </a:rPr>
                        <a:t>Σημείωση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+mn-cs"/>
                        </a:rPr>
                        <a:t>VP700 HEPA </a:t>
                      </a:r>
                      <a:br>
                        <a:rPr lang="el" sz="7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+mn-cs"/>
                        </a:rPr>
                      </a:b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+mn-cs"/>
                        </a:rPr>
                        <a:t>XEC EU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+mn-cs"/>
                        </a:rPr>
                        <a:t>VP700 HEPA </a:t>
                      </a:r>
                      <a:br>
                        <a:rPr lang="el" sz="7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+mn-cs"/>
                        </a:rPr>
                      </a:b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+mn-cs"/>
                        </a:rPr>
                        <a:t>XECP S2 EU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+mn-cs"/>
                        </a:rPr>
                        <a:t>VP700 HEPA </a:t>
                      </a:r>
                      <a:br>
                        <a:rPr lang="el" sz="7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+mn-cs"/>
                        </a:rPr>
                      </a:b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+mn-cs"/>
                        </a:rPr>
                        <a:t>XT EU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+mn-cs"/>
                        </a:rPr>
                        <a:t>VP700 R HEPA </a:t>
                      </a:r>
                      <a:br>
                        <a:rPr lang="el" sz="7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+mn-cs"/>
                        </a:rPr>
                      </a:b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+mn-cs"/>
                        </a:rPr>
                        <a:t>T EU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2538364"/>
                  </a:ext>
                </a:extLst>
              </a:tr>
              <a:tr h="234618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el" sz="700" b="0" i="0" u="none" strike="noStrike" kern="120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</a:b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Τεχνικά στοιχεία</a:t>
                      </a:r>
                    </a:p>
                  </a:txBody>
                  <a:tcPr marL="0" marR="0" marT="9144" marB="9144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8594032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Τάση/Συχνότητα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/Hz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0-240/50-60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0-240/50-60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0-240/50-60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0-240/50-60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2253908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ατηγορία προστασίας / Προστασία I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 / IP20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 / IP20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 / IP20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 / IP20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3356037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Ονομαστική ισχύς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50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50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50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50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937611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Ροή αέρα (άκρο σωλήνα)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/s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8603608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Υποπίεση (στο ακροφύσιο)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Pa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1209953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Ισχύς αναρρόφησης (άκρο σωλήνα)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0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0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0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0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8447751"/>
                  </a:ext>
                </a:extLst>
              </a:tr>
              <a:tr h="3426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Στάθμη θορύβου 2m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B(A)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Θόρυβος στη θέση εργασίας/χειρισμού, απόσταση 2 m (πίεση)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6741079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Στάθμη ηχητικής πίεσης σε 1m (IEC 60335-2-69)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B(A)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3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3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3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3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290158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Χωρητικότητα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7960247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ύριος τύπος φίλτρου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PA 13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PA 14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PA 14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PA 14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1910143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μβαδόν κύριου φίλτρου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²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00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00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00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00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9575005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Μήκος καλωδίου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7341216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κτίνα εργασίας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2368932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άρος (μηχάνημα)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g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μηχάνημα μόνο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9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9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9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9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5016288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ιαστάσεις (ΜxΠxΥ)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m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20x300x410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20x300x410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20x300x410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20x300x410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4796286"/>
                  </a:ext>
                </a:extLst>
              </a:tr>
              <a:tr h="234618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Χαρακτηριστικά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3487175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ποσπώμενο καλώδιο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Ι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848093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Φιλτράρισμα HEPA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Ι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Ι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4447490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νακυκλωμένο υλικό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Ι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952837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νθεκτικό σύστημα τύλιξης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1389164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θόρυβη λειτουργία: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Διπλή ταχύτητα)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Ι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1700678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ιπλός χώρος αποθήκευσης καλωδίου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7456024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Τριπλός χώρος αποθήκευσης καλωδίου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Ι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9717746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Στάθμευση σωλήνα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Ι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1627562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ποθήκευση εργαλείων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565198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ργονομική λαβή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Ι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371783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ργονομικό λυγισμένο άκρο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Ι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045238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ργονομικό λυγισμένο άκρο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k/μαλακό καλούπι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Ι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907920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4023885"/>
                  </a:ext>
                </a:extLst>
              </a:tr>
              <a:tr h="12657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Σακούλες σκόνης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-P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-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-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-P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9896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105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3AA814B-CC75-B7E8-1A52-188A8D8BC1F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  <a:endParaRPr lang="el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3F2DFF-4C9A-7C47-7A77-79C54D8EA3A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1</a:t>
            </a:fld>
            <a:endParaRPr lang="e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791642-A607-A847-D235-A3FF363FC5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πισκόπηση διαμόρφωσης σειράς | Εξοπλισμός μοντέλων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F83E5F2-04A0-468D-916B-FFC2CB5EDD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dirty="0"/>
              <a:t>2</a:t>
            </a:r>
            <a:r>
              <a:rPr lang="el" b="1" i="0" u="none" baseline="0" dirty="0"/>
              <a:t> | Τεχνικές προδιαγραφές VP700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67DA083-8FF0-F34D-8480-9DDEAA5F03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304072"/>
              </p:ext>
            </p:extLst>
          </p:nvPr>
        </p:nvGraphicFramePr>
        <p:xfrm>
          <a:off x="491651" y="1311656"/>
          <a:ext cx="9052560" cy="50688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68880">
                  <a:extLst>
                    <a:ext uri="{9D8B030D-6E8A-4147-A177-3AD203B41FA5}">
                      <a16:colId xmlns:a16="http://schemas.microsoft.com/office/drawing/2014/main" val="3816420497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1444173945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056791366"/>
                    </a:ext>
                  </a:extLst>
                </a:gridCol>
                <a:gridCol w="91440">
                  <a:extLst>
                    <a:ext uri="{9D8B030D-6E8A-4147-A177-3AD203B41FA5}">
                      <a16:colId xmlns:a16="http://schemas.microsoft.com/office/drawing/2014/main" val="173202239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3955012127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3010540579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68221026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3878874852"/>
                    </a:ext>
                  </a:extLst>
                </a:gridCol>
                <a:gridCol w="91440">
                  <a:extLst>
                    <a:ext uri="{9D8B030D-6E8A-4147-A177-3AD203B41FA5}">
                      <a16:colId xmlns:a16="http://schemas.microsoft.com/office/drawing/2014/main" val="2590629152"/>
                    </a:ext>
                  </a:extLst>
                </a:gridCol>
                <a:gridCol w="91440">
                  <a:extLst>
                    <a:ext uri="{9D8B030D-6E8A-4147-A177-3AD203B41FA5}">
                      <a16:colId xmlns:a16="http://schemas.microsoft.com/office/drawing/2014/main" val="38612569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Έκδοση χώρας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6" marR="6126" marT="6126" marB="9144" anchor="b">
                    <a:lnR w="12700" cmpd="sng">
                      <a:noFill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ΕΕ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0980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ριθμός είδους</a:t>
                      </a:r>
                    </a:p>
                  </a:txBody>
                  <a:tcPr marL="0" marR="0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6" marR="6126" marT="6126" marB="9144" anchor="b"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21185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21184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21187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21189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39821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Αξεσουάρ 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5553" marR="5553" marT="9144" marB="9144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Περιγραφή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Σημείωση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7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VP700 HEPA </a:t>
                      </a:r>
                      <a:br>
                        <a:rPr lang="el" sz="700" b="0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</a:br>
                      <a:r>
                        <a:rPr lang="el" sz="7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XEC EU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7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VP700 HEPA </a:t>
                      </a:r>
                      <a:br>
                        <a:rPr lang="el" sz="700" b="0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</a:br>
                      <a:r>
                        <a:rPr lang="el" sz="7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XECP S2 EU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7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VP700 HEPA </a:t>
                      </a:r>
                      <a:br>
                        <a:rPr lang="el" sz="700" b="0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</a:br>
                      <a:r>
                        <a:rPr lang="el" sz="7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XT EU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7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VP700 R HEPA </a:t>
                      </a:r>
                      <a:br>
                        <a:rPr lang="el" sz="700" b="0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</a:br>
                      <a:r>
                        <a:rPr lang="el" sz="7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T EU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25383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Σωλήνες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85940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Σωλήνας επέκτασης από χάλυβα D32 - Μαύρος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40 8246 040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22539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Σωλήνας επέκτασης από αλουμίνιο - Μαύρος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21471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Ι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Ι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33560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Τηλεσκοπικός σωλήνας από αλουμίνιο - Μαύρο/Μπλε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21463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Ι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I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9376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Σωλήνας επέκτασης από χάλυβα 450mm (μικρός)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40 8246 050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86036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Εύκαμπτος σωλήνας και λυγισμένο άκρο</a:t>
                      </a: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12099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Εύκαμπτος σωλήνας PREM με συνδέσμους D38/32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21452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84477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Εύκαμπτος σωλήνας PREM CPL με λυγισμένο άκρο D38/32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21453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Ι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I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I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67410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Εύκαμπτος σωλήνας PREM CPL με λυγισμένο άκρο PREM D38/32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-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Χωρίς κιτ after sales επί του παρόντος </a:t>
                      </a:r>
                      <a:endParaRPr lang="el" sz="7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Ι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2901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Λυγισμένο άκρο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21446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l" sz="7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79602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Λυγισμένο άκρο PREM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21445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19101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Ακροφύσια δαπέδου </a:t>
                      </a: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73412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ΑΚΡΟΦΥΣΙΟ ΠΟΛΛΑΠΛΩΝ ΕΠΙΦΑΝΕΙΩΝ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40 6700 540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Ι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Ι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23689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ΣΥΝΔΥΑΣΤΙΚΟ ΑΚΡΟΦΥΣΙΟ RD295P ΜΕ ΚΛΙΠ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17790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Ι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I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50162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ΣΥΝΔΥΑΣΤΙΚΟ ΑΚΡΟΦΥΣΙΟ RD295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40 8492 520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47962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ΣΥΝΔΥΑΣΤΙΚΟ ΑΚΡΟΦΥΣΙΟ RD277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11677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00628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ΣΥΝΔΥΑΣΤΙΚΟ ΑΚΡΟΦΥΣΙΟ JP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05141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34871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Φίλτρα και σακούλες</a:t>
                      </a: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848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Φίλτρο HEPA 13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47 1250 600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Ι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44474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Φίλτρο HEPA 14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21443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Ι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I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I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9528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Τυπικό φίλτρο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21444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13891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Προφίλτρο σακούλας VP700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24325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700" b="0" i="0" u="none" strike="noStrike" baseline="0">
                          <a:effectLst/>
                        </a:rPr>
                        <a:t> νέο PN</a:t>
                      </a:r>
                      <a:endParaRPr lang="el" sz="7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Ι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I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I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I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17006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l" sz="7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74560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Σακούλα σκόνης φλις 10-P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82367820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97177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Χάρτινη σακούλα σκόνης 5-P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82367810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F7964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16275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Χάρτινη σακούλα σκόνης 10-P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40 8618 000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5651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Επαναχρησιμοποιήσιμη σακούλα σκόνης 1-P (ύφασμα)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22251800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3717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Κιτ συντήρησης VP300/400/500/700 – LIGHT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21454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0452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Κιτ συντήρησης VP300/400/500/700 – PLUS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21455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9079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endParaRPr lang="el" sz="700" b="0" u="none" strike="noStrike" kern="1200" dirty="0">
                        <a:solidFill>
                          <a:schemeClr val="dk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Λοιπά εξαρτήματα</a:t>
                      </a: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40238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Στρογγυλή βούρτσα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40 8244 500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l" sz="7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9896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Ακροφύσιο για χαραμάδες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47 0146 500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81947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Ακροφύσιο HF Premium 350mm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13080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1" u="none" strike="noStrike" dirty="0">
                        <a:solidFill>
                          <a:srgbClr val="F7964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31096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Ακροφύσιο HF Premium 495mm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107413081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03194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Εργαλείο για χαραμάδες</a:t>
                      </a:r>
                      <a:endParaRPr lang="el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974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81530400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L w="12700" cmpd="sng">
                      <a:noFill/>
                    </a:lnL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700" b="0" i="0" u="none" strike="noStrike" baseline="0">
                          <a:effectLst/>
                        </a:rPr>
                        <a:t> </a:t>
                      </a:r>
                      <a:endParaRPr lang="el" sz="7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53" marR="5553" marT="9144" marB="9144" anchor="ctr"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l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29399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9628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0B2525D-09A2-7391-AD3C-86FD1BF06AF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endParaRPr kumimoji="0" lang="el" sz="16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Bold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endParaRPr kumimoji="0" lang="el" sz="16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Bold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r>
              <a:rPr kumimoji="0" lang="el" sz="16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Νέα σειρά με επαγγελματικές απορροφητικές σκούπες</a:t>
            </a:r>
            <a:endParaRPr lang="el" sz="16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Bold"/>
              <a:ea typeface="Roboto Bold"/>
              <a:cs typeface="Roboto Bold"/>
            </a:endParaRP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38AFD9"/>
                </a:solidFill>
                <a:effectLst/>
                <a:uLnTx/>
                <a:uFillTx/>
                <a:latin typeface="Roboto Light italic"/>
                <a:ea typeface="Roboto Light italic"/>
                <a:cs typeface="Roboto Light italic"/>
              </a:rPr>
              <a:t>Συμπαγές μηχάνημα με δοχείο στερεών</a:t>
            </a:r>
            <a:endParaRPr lang="el" sz="1200" b="0" i="0" u="none" strike="noStrike" kern="1200" cap="none" spc="0" normalizeH="0" baseline="0" noProof="0">
              <a:ln>
                <a:noFill/>
              </a:ln>
              <a:solidFill>
                <a:srgbClr val="38AFD9"/>
              </a:solidFill>
              <a:effectLst/>
              <a:uLnTx/>
              <a:uFillTx/>
              <a:latin typeface="Roboto Light italic"/>
              <a:ea typeface="Roboto Light italic"/>
              <a:cs typeface="Roboto Light italic"/>
            </a:endParaRP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endParaRPr kumimoji="0" lang="el" sz="1400" b="1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endParaRPr kumimoji="0" lang="el" sz="1400" b="1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r>
              <a:rPr kumimoji="0" lang="el" sz="14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Medium"/>
                <a:ea typeface="Roboto Medium"/>
                <a:cs typeface="Roboto Medium"/>
              </a:rPr>
              <a:t>VP300 ‘Σειρά’	Λανσάρισμα</a:t>
            </a:r>
            <a:endParaRPr lang="el" sz="14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Medium"/>
              <a:ea typeface="Roboto Medium"/>
              <a:cs typeface="Roboto Medium"/>
            </a:endParaRPr>
          </a:p>
          <a:p>
            <a:pPr marL="198755" marR="0" lvl="0" indent="-198755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VP300 (καλώδιο με χειροκίνητη επανατύλιξη)	</a:t>
            </a:r>
            <a:r>
              <a:rPr kumimoji="0" lang="el" sz="1100" b="0" i="1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FEB 2025</a:t>
            </a:r>
            <a:endParaRPr lang="el" sz="1100" b="0" i="1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marL="198755" marR="0" lvl="0" indent="-198755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VP400 (επανατύλιξη καλωδίου με λαβή)	</a:t>
            </a:r>
            <a:r>
              <a:rPr kumimoji="0" lang="el" sz="1100" b="0" i="1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FEB 2025</a:t>
            </a:r>
            <a:endParaRPr lang="el" sz="1100" b="0" i="1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marL="198755" marR="0" lvl="0" indent="-198755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VP500 (μπαταρία</a:t>
            </a:r>
            <a:r>
              <a:rPr lang="el" sz="1200" b="0" i="0" u="none" baseline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)</a:t>
            </a:r>
            <a:r>
              <a:rPr lang="el" sz="1200" b="0" i="0" u="none" baseline="0">
                <a:solidFill>
                  <a:srgbClr val="28313F"/>
                </a:solidFill>
              </a:rPr>
              <a:t>	</a:t>
            </a:r>
            <a:r>
              <a:rPr kumimoji="0" lang="el" sz="1100" b="0" i="1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  <a:sym typeface="Wingdings" panose="05000000000000000000" pitchFamily="2" charset="2"/>
              </a:rPr>
              <a:t>DEC 2025</a:t>
            </a:r>
            <a:endParaRPr lang="el" sz="1100" b="0" i="1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endParaRPr kumimoji="0" lang="el" sz="14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endParaRPr kumimoji="0" lang="el" sz="14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r>
              <a:rPr kumimoji="0" lang="el" sz="14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Medium"/>
                <a:ea typeface="Roboto Medium"/>
                <a:cs typeface="Roboto Medium"/>
              </a:rPr>
              <a:t>VP700</a:t>
            </a:r>
            <a:r>
              <a:rPr kumimoji="0" lang="el" sz="14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(καλώδιο με χειροκίνητη επανατύλιξη)</a:t>
            </a:r>
            <a:r>
              <a:rPr kumimoji="0" lang="el" sz="14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  <a:sym typeface="Wingdings" panose="05000000000000000000" pitchFamily="2" charset="2"/>
              </a:rPr>
              <a:t> 	</a:t>
            </a:r>
            <a:r>
              <a:rPr kumimoji="0" lang="el" sz="1100" b="0" i="1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  <a:sym typeface="Wingdings" panose="05000000000000000000" pitchFamily="2" charset="2"/>
              </a:rPr>
              <a:t>DEC 2025</a:t>
            </a:r>
            <a:endParaRPr kumimoji="0" lang="el" sz="11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198755" indent="-198755" algn="l" rtl="0"/>
            <a:endParaRPr lang="el" noProof="0">
              <a:ea typeface="Roboto Light"/>
              <a:cs typeface="Roboto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6BFD1-E8DA-4CF0-B288-EA5B6044B3C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FAA52C-8418-974A-89C2-EA380DAC7D0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2</a:t>
            </a:fld>
            <a:endParaRPr lang="el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54B8019-E2E2-AA6F-BA1B-D27FE4DB88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Λεπτομέρειες ονομασίας στο σύστημα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4E59031-191B-102E-2DD1-A5F43B3D25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dirty="0"/>
              <a:t>2</a:t>
            </a:r>
            <a:r>
              <a:rPr lang="el" b="1" i="0" u="none" baseline="0" dirty="0"/>
              <a:t> | Το νέο VP700</a:t>
            </a:r>
          </a:p>
        </p:txBody>
      </p:sp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825717EE-3190-D623-30AB-BE4C6A72CC1E}"/>
              </a:ext>
            </a:extLst>
          </p:cNvPr>
          <p:cNvSpPr txBox="1">
            <a:spLocks/>
          </p:cNvSpPr>
          <p:nvPr/>
        </p:nvSpPr>
        <p:spPr>
          <a:xfrm>
            <a:off x="5982560" y="0"/>
            <a:ext cx="6209440" cy="628489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lIns="60458" tIns="60458" rIns="60458" bIns="61200" rtlCol="0" anchor="ctr" anchorCtr="0">
            <a:noAutofit/>
          </a:bodyPr>
          <a:lstStyle>
            <a:lvl1pPr marL="0" indent="0" algn="ctr" defTabSz="1023967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b="0" i="0" u="none" baseline="0"/>
              <a:t> 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7EB4E57-6AED-8E8B-4874-CE3B8991A9CF}"/>
              </a:ext>
            </a:extLst>
          </p:cNvPr>
          <p:cNvSpPr txBox="1">
            <a:spLocks/>
          </p:cNvSpPr>
          <p:nvPr/>
        </p:nvSpPr>
        <p:spPr>
          <a:xfrm>
            <a:off x="6525577" y="2017996"/>
            <a:ext cx="5315903" cy="287463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  <a:tabLst>
                <a:tab pos="809625" algn="l"/>
                <a:tab pos="3143250" algn="l"/>
              </a:tabLst>
            </a:pPr>
            <a:r>
              <a:rPr lang="el" b="0" i="0" u="none" baseline="0">
                <a:latin typeface="+mj-lt"/>
                <a:ea typeface="+mj-lt"/>
                <a:cs typeface="+mj-lt"/>
              </a:rPr>
              <a:t>Λεπτομέρειες ονομασίας	Εάν δεν αποτελεί μέρος του ονόματος</a:t>
            </a:r>
          </a:p>
          <a:p>
            <a:pPr marL="0" indent="0" algn="l" rtl="0">
              <a:buFont typeface="Arial" panose="020B0604020202020204" pitchFamily="34" charset="0"/>
              <a:buNone/>
              <a:tabLst>
                <a:tab pos="809625" algn="l"/>
                <a:tab pos="3143250" algn="l"/>
              </a:tabLst>
            </a:pPr>
            <a:endParaRPr lang="el" sz="1200" noProof="0"/>
          </a:p>
          <a:p>
            <a:pPr marL="0" indent="0" algn="l" rtl="0">
              <a:buFont typeface="Arial" panose="020B0604020202020204" pitchFamily="34" charset="0"/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</a:t>
            </a:r>
            <a:r>
              <a:rPr lang="el" sz="1200" b="0" i="0" u="none" baseline="0"/>
              <a:t>	Ανακυκλωμένο υλικό	Κανονικό υλικό</a:t>
            </a:r>
          </a:p>
          <a:p>
            <a:pPr marL="0" indent="0" algn="l" rtl="0">
              <a:buFont typeface="Arial" panose="020B0604020202020204" pitchFamily="34" charset="0"/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HEPA / H</a:t>
            </a:r>
            <a:r>
              <a:rPr lang="el" sz="1200" b="0" i="0" u="none" baseline="0"/>
              <a:t>	Φιλτράρισμα HEPA (H13 ή H14)	Αφρώδες/Στάνταρ φίλτρο</a:t>
            </a:r>
          </a:p>
          <a:p>
            <a:pPr marL="0" indent="0" algn="l" rtl="0">
              <a:buFont typeface="Arial" panose="020B0604020202020204" pitchFamily="34" charset="0"/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Basic</a:t>
            </a:r>
            <a:r>
              <a:rPr lang="el" sz="1200" b="0" i="0" u="none" baseline="0"/>
              <a:t>	Σταθερό καλώδιο	Αποσπώμενο καλώδιο</a:t>
            </a:r>
          </a:p>
          <a:p>
            <a:pPr marL="0" indent="0" algn="l" rtl="0">
              <a:buFont typeface="Arial" panose="020B0604020202020204" pitchFamily="34" charset="0"/>
              <a:buNone/>
              <a:tabLst>
                <a:tab pos="809625" algn="l"/>
                <a:tab pos="3143250" algn="l"/>
              </a:tabLst>
            </a:pPr>
            <a:endParaRPr lang="el" sz="1200" noProof="0"/>
          </a:p>
          <a:p>
            <a:pPr marL="0" indent="0" algn="l" rtl="0">
              <a:buFont typeface="Arial" panose="020B0604020202020204" pitchFamily="34" charset="0"/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X</a:t>
            </a:r>
            <a:r>
              <a:rPr lang="el" sz="1200" b="0" i="0" u="none" baseline="0"/>
              <a:t>	</a:t>
            </a:r>
            <a:r>
              <a:rPr lang="el" sz="12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Έξτρα</a:t>
            </a:r>
            <a:r>
              <a:rPr lang="el" sz="1200" b="0" i="0" u="none" baseline="0"/>
              <a:t> μήκος καλωδίου (π.χ. 15m)	10m καλώδιο</a:t>
            </a:r>
          </a:p>
          <a:p>
            <a:pPr marL="0" indent="0" algn="l" rtl="0">
              <a:buFont typeface="Arial" panose="020B0604020202020204" pitchFamily="34" charset="0"/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</a:t>
            </a:r>
            <a:r>
              <a:rPr lang="el" sz="1200" b="0" i="0" u="none" baseline="0"/>
              <a:t>	</a:t>
            </a:r>
            <a:r>
              <a:rPr lang="el" sz="12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ξωτ.</a:t>
            </a:r>
            <a:r>
              <a:rPr lang="el" sz="1200" b="0" i="0" u="none" baseline="0"/>
              <a:t> σωλήνες αλουμινίου	Εξωτ. χαλύβδινοι σωλήνες</a:t>
            </a:r>
          </a:p>
          <a:p>
            <a:pPr marL="0" indent="0" algn="l" rtl="0">
              <a:buFont typeface="Arial" panose="020B0604020202020204" pitchFamily="34" charset="0"/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Τ</a:t>
            </a:r>
            <a:r>
              <a:rPr lang="el" sz="1200" b="0" i="0" u="none" baseline="0"/>
              <a:t>	</a:t>
            </a:r>
            <a:r>
              <a:rPr lang="el" sz="12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Τηλεσκοπικός</a:t>
            </a:r>
            <a:r>
              <a:rPr lang="el" sz="1200" b="0" i="0" u="none" baseline="0"/>
              <a:t> σωλήνας αλουμινίου	Εξωτ. χαλύβδινοι σωλήνες</a:t>
            </a:r>
          </a:p>
          <a:p>
            <a:pPr marL="0" indent="0" algn="l" rtl="0">
              <a:buFont typeface="Arial" panose="020B0604020202020204" pitchFamily="34" charset="0"/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</a:t>
            </a:r>
            <a:r>
              <a:rPr lang="el" sz="1200" b="0" i="0" u="none" baseline="0"/>
              <a:t>	</a:t>
            </a:r>
            <a:r>
              <a:rPr lang="el" sz="12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Πολλαπλών χρήσεων</a:t>
            </a:r>
            <a:r>
              <a:rPr lang="el" sz="1200" b="0" i="0" u="none" baseline="0"/>
              <a:t> ακροφύσιο	Πολλαπλών επιφανειών ακροφύσιο</a:t>
            </a:r>
          </a:p>
          <a:p>
            <a:pPr marL="0" indent="0" algn="l" rtl="0">
              <a:buFont typeface="Arial" panose="020B0604020202020204" pitchFamily="34" charset="0"/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</a:t>
            </a:r>
            <a:r>
              <a:rPr lang="el" sz="1200" b="0" i="0" u="none" baseline="0"/>
              <a:t>	</a:t>
            </a:r>
            <a:r>
              <a:rPr lang="el" sz="12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</a:t>
            </a:r>
            <a:r>
              <a:rPr lang="el" sz="1200" b="0" i="0" u="none" baseline="0"/>
              <a:t>remium 2K λυγισμένο άκρο	Βασικό λυγισμένο άκρο</a:t>
            </a:r>
          </a:p>
          <a:p>
            <a:pPr marL="0" indent="0" algn="l" rtl="0">
              <a:buFont typeface="Arial" panose="020B0604020202020204" pitchFamily="34" charset="0"/>
              <a:buNone/>
              <a:tabLst>
                <a:tab pos="809625" algn="l"/>
                <a:tab pos="3143250" algn="l"/>
              </a:tabLst>
            </a:pPr>
            <a:endParaRPr lang="el" sz="1200" noProof="0"/>
          </a:p>
          <a:p>
            <a:pPr marL="0" indent="0" algn="l" rtl="0">
              <a:buFont typeface="Arial" panose="020B0604020202020204" pitchFamily="34" charset="0"/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2</a:t>
            </a:r>
            <a:r>
              <a:rPr lang="el" sz="1200" b="0" i="0" u="none" baseline="0"/>
              <a:t>	</a:t>
            </a:r>
            <a:r>
              <a:rPr lang="el" sz="1200" b="1" i="0" u="none" baseline="0"/>
              <a:t>2</a:t>
            </a:r>
            <a:r>
              <a:rPr lang="el" sz="1200" b="0" i="0" u="none" baseline="0"/>
              <a:t>-</a:t>
            </a:r>
            <a:r>
              <a:rPr lang="el" sz="1200" b="1" i="0" u="none" baseline="0"/>
              <a:t>Ταχυτήτων </a:t>
            </a:r>
            <a:r>
              <a:rPr lang="el" sz="1200" b="0" i="0" u="none" baseline="0"/>
              <a:t>λειτουργία	</a:t>
            </a:r>
          </a:p>
        </p:txBody>
      </p:sp>
    </p:spTree>
    <p:extLst>
      <p:ext uri="{BB962C8B-B14F-4D97-AF65-F5344CB8AC3E}">
        <p14:creationId xmlns:p14="http://schemas.microsoft.com/office/powerpoint/2010/main" val="415013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457038-A558-6217-D71A-86D76D4A59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857E78-9988-2009-4E82-2B017CC9C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Ατζέντα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BF9DA1-FC15-D0DA-AD38-8D580B9A332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Υπόβαθρο και VP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0ED955-EA12-34F1-CF62-80CBF9156B1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68167" y="2351007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Το νέο VP700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70A25E-AEC3-6D36-4ABC-56D1095D8FB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68167" y="3256859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/>
              <a:t>Κυριότερα σημεία πώλησης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E572EF-2B77-3505-402A-44DBA44ADE5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4304215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Άλλο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9CE368-6FC3-7E0A-F578-C29167D5E520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l" b="1" i="0" u="none" baseline="0"/>
              <a:t>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A28FD6A-B6B5-94C0-032A-EAE59D625E7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17600" y="2351007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n-US" dirty="0"/>
              <a:t>2</a:t>
            </a:r>
            <a:endParaRPr lang="el" b="1" i="0" u="none" baseline="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C817C21-F506-A247-EFB8-FAB9727ADE8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117600" y="3256859"/>
            <a:ext cx="698400" cy="698238"/>
          </a:xfr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n-US" dirty="0"/>
              <a:t>3</a:t>
            </a:r>
            <a:endParaRPr lang="el" b="1" i="0" u="none" baseline="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DC49C5B-1594-4AB4-E68E-B9729A15E986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117600" y="430421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n-US" dirty="0"/>
              <a:t>4</a:t>
            </a:r>
            <a:endParaRPr lang="el" b="1" i="0" u="none" baseline="0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23BEF9E6-B93C-B907-1546-C4503249D34C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66B533B-DDBE-D096-F582-E3AA783C390D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3</a:t>
            </a:fld>
            <a:endParaRPr lang="el" noProof="0"/>
          </a:p>
        </p:txBody>
      </p:sp>
      <p:pic>
        <p:nvPicPr>
          <p:cNvPr id="23" name="Picture Placeholder 22">
            <a:extLst>
              <a:ext uri="{FF2B5EF4-FFF2-40B4-BE49-F238E27FC236}">
                <a16:creationId xmlns:a16="http://schemas.microsoft.com/office/drawing/2014/main" id="{E20F2F95-525D-DC57-14B1-90E58C1C0032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9718" y="0"/>
            <a:ext cx="5262281" cy="6273800"/>
          </a:xfrm>
        </p:spPr>
      </p:pic>
    </p:spTree>
    <p:extLst>
      <p:ext uri="{BB962C8B-B14F-4D97-AF65-F5344CB8AC3E}">
        <p14:creationId xmlns:p14="http://schemas.microsoft.com/office/powerpoint/2010/main" val="341005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867E403-8580-A2A3-59EF-9E89C509D8A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E5AE0299-BEAB-4C88-0DEF-23B9D1054E2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4</a:t>
            </a:fld>
            <a:endParaRPr lang="el" noProof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599F738-75D2-0459-B586-A30424C9F0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Παλιό έναντι νέου (VP700 @αναβάθμιση = σκούρα γκρι περιοχή)</a:t>
            </a: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28C26E29-BA16-D219-0B97-6AC32943EF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dirty="0"/>
              <a:t>3</a:t>
            </a:r>
            <a:r>
              <a:rPr lang="el" b="1" i="0" u="none" baseline="0" dirty="0"/>
              <a:t> | Χαρακτηριστικά του VP700</a:t>
            </a:r>
          </a:p>
        </p:txBody>
      </p:sp>
      <p:graphicFrame>
        <p:nvGraphicFramePr>
          <p:cNvPr id="20" name="Table 3">
            <a:extLst>
              <a:ext uri="{FF2B5EF4-FFF2-40B4-BE49-F238E27FC236}">
                <a16:creationId xmlns:a16="http://schemas.microsoft.com/office/drawing/2014/main" id="{C0A60986-ABA8-A99E-FBC0-4BEFB28DF3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1626013"/>
              </p:ext>
            </p:extLst>
          </p:nvPr>
        </p:nvGraphicFramePr>
        <p:xfrm>
          <a:off x="475521" y="1412875"/>
          <a:ext cx="5952311" cy="497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23360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916078">
                  <a:extLst>
                    <a:ext uri="{9D8B030D-6E8A-4147-A177-3AD203B41FA5}">
                      <a16:colId xmlns:a16="http://schemas.microsoft.com/office/drawing/2014/main" val="1287508165"/>
                    </a:ext>
                  </a:extLst>
                </a:gridCol>
                <a:gridCol w="1012873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Χαρακτηριστικό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GD1000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VP700 (νέο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Προφυλακτήρας μηχανήματος και δομή ABS για ανθεκτικότητα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Πρόσβαση στο φίλτρο HEPA χωρίς εργαλεία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Θέση στάθμευσης σωλήνα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Φίλτρο ΗΕΡΑ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Προφίλτρο σακούλας XL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459761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Χωρητικότητα για μοντέλα στην αγορά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9-10 καθαρή πλήρωση</a:t>
                      </a:r>
                      <a:br>
                        <a:rPr lang="el" sz="900">
                          <a:solidFill>
                            <a:schemeClr val="tx1"/>
                          </a:solidFill>
                        </a:rPr>
                      </a:br>
                      <a:r>
                        <a:rPr lang="el" sz="800" b="0" i="1" u="none" baseline="0">
                          <a:solidFill>
                            <a:schemeClr val="tx1"/>
                          </a:solidFill>
                        </a:rPr>
                        <a:t>(πραγματική 15L μεικτή))</a:t>
                      </a:r>
                      <a:endParaRPr lang="el" sz="900" i="1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15L</a:t>
                      </a:r>
                      <a:b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</a:br>
                      <a:r>
                        <a:rPr kumimoji="0" lang="el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(9-10L καθαρή πλήρωση)</a:t>
                      </a:r>
                      <a:endParaRPr kumimoji="0" lang="el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73613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1022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Ανθεκτικός ποδοδιακόπτης ισχύος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998911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Βελτιωμένη ευελιξία (Μεγάλοι και στιβαροί τροχοί 2K που δεν αφήνουν σημάδια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6469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Βελτιωμένη διαχείριση/αποθήκευση καλωδίου με ταχεία απελευθέρωση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146064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Αποσπώμενο καλώδιο στάνταρ με ενσωματωμένη διάταξη ανακούφισης/ασφάλισης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50605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Εργονομική λαβή + εργονομικό μάνδαλο UX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258196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Απλοποιημένη δομή προφίλτρου UI και UX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61215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Επισημασμένα σημεία αφής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50731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Άγκιστρο καλωδίου για γρήγορη στάθμευση/αλλαγή θέσης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7558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Διεπαφή HEPA ευθυγραμμισμένη με την υπόλοιπη σειρά κόμπακτ απορροφητικών σκουπών με δοχείο </a:t>
                      </a:r>
                      <a:r>
                        <a:rPr lang="el" sz="800" b="0" i="1" u="none" baseline="0">
                          <a:solidFill>
                            <a:schemeClr val="tx1"/>
                          </a:solidFill>
                        </a:rPr>
                        <a:t>(VP300, VP400, VP500)</a:t>
                      </a:r>
                      <a:endParaRPr lang="el" sz="900" i="1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8415757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0271AB1-D0B8-B56C-E434-14B7168C9ECB}"/>
              </a:ext>
            </a:extLst>
          </p:cNvPr>
          <p:cNvSpPr txBox="1"/>
          <p:nvPr/>
        </p:nvSpPr>
        <p:spPr>
          <a:xfrm>
            <a:off x="6953252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/>
            <a:r>
              <a:rPr lang="el" sz="1300" b="0" i="0" u="none" baseline="0">
                <a:latin typeface="+mj-lt"/>
                <a:ea typeface="+mj-lt"/>
                <a:cs typeface="+mj-lt"/>
              </a:rPr>
              <a:t>GD1000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26D6895-FD05-6C42-C7B8-099CA3A25F14}"/>
              </a:ext>
            </a:extLst>
          </p:cNvPr>
          <p:cNvSpPr txBox="1"/>
          <p:nvPr/>
        </p:nvSpPr>
        <p:spPr>
          <a:xfrm>
            <a:off x="9723368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/>
            <a:r>
              <a:rPr lang="el" sz="1300" b="0" i="0" u="none" baseline="0">
                <a:latin typeface="+mj-lt"/>
                <a:ea typeface="+mj-lt"/>
                <a:cs typeface="+mj-lt"/>
              </a:rPr>
              <a:t>VP700</a:t>
            </a:r>
          </a:p>
        </p:txBody>
      </p:sp>
      <p:pic>
        <p:nvPicPr>
          <p:cNvPr id="24" name="Picture 23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DD197278-9DBC-8872-ED35-98640923047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2287" y="2436647"/>
            <a:ext cx="1991644" cy="227100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80C8A95-0DAF-3D07-4BE4-976C4D2A17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58064" y="2395679"/>
            <a:ext cx="3153282" cy="2183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000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Billede 32" descr="Et billede, der indeholder apparat, støvsuger&#10;&#10;AI-genereret indhold kan være ukorrekt.">
            <a:extLst>
              <a:ext uri="{FF2B5EF4-FFF2-40B4-BE49-F238E27FC236}">
                <a16:creationId xmlns:a16="http://schemas.microsoft.com/office/drawing/2014/main" id="{8D278426-F0EE-D68E-2709-002BC1E12CB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3062" y="28937"/>
            <a:ext cx="4980356" cy="6858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B53CFDB-EE5B-F4D6-C1F7-1D0CDE1F31B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34FBC2-C31C-6CE8-0F73-36B77C121BE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5</a:t>
            </a:fld>
            <a:endParaRPr lang="el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DA7347-3C64-32EB-8735-37BDBC3807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Κυριότερα σημεία πώλησης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FAFB8C4-4832-A237-8A9A-D4EFD6CB7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dirty="0"/>
              <a:t>3</a:t>
            </a:r>
            <a:r>
              <a:rPr lang="el" b="1" i="0" u="none" baseline="0" dirty="0"/>
              <a:t> | Χαρακτηριστικά του VP70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9A28A9-8D37-AAC0-55FE-5E860805CE57}"/>
              </a:ext>
            </a:extLst>
          </p:cNvPr>
          <p:cNvSpPr txBox="1"/>
          <p:nvPr/>
        </p:nvSpPr>
        <p:spPr>
          <a:xfrm>
            <a:off x="6495411" y="2396782"/>
            <a:ext cx="5212114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l" sz="1100" b="0" i="0" u="none" baseline="0">
                <a:latin typeface="+mj-lt"/>
                <a:ea typeface="+mj-lt"/>
                <a:cs typeface="+mj-lt"/>
              </a:rPr>
              <a:t>Εργονομική λαβή μηχανήματος </a:t>
            </a:r>
          </a:p>
          <a:p>
            <a:pPr algn="r" rtl="0">
              <a:lnSpc>
                <a:spcPct val="120000"/>
              </a:lnSpc>
            </a:pPr>
            <a:r>
              <a:rPr lang="el" sz="1100" b="0" i="0" u="none" strike="noStrike" baseline="0">
                <a:effectLst/>
              </a:rPr>
              <a:t>Άνετη εφαρμογή για διάφορα μεγέθη χεριού και δυνατότητα φύλαξης του σωλήνα στη θέση «μεταφοράς»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42E1D4-7FB3-8124-96D8-A70A66E691D4}"/>
              </a:ext>
            </a:extLst>
          </p:cNvPr>
          <p:cNvSpPr txBox="1"/>
          <p:nvPr/>
        </p:nvSpPr>
        <p:spPr>
          <a:xfrm>
            <a:off x="481377" y="2274523"/>
            <a:ext cx="3688243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l" sz="1100" b="0" i="0" u="none" baseline="0">
                <a:latin typeface="+mj-lt"/>
                <a:ea typeface="+mj-lt"/>
                <a:cs typeface="+mj-lt"/>
              </a:rPr>
              <a:t>Γρήγορη απελευθέρωση καλωδίου </a:t>
            </a:r>
            <a:br>
              <a:rPr lang="el" sz="1100" b="0" i="0" u="none" strike="noStrike">
                <a:effectLst/>
              </a:rPr>
            </a:br>
            <a:r>
              <a:rPr lang="el" sz="1100" b="0" i="0" u="none" strike="noStrike" baseline="0">
                <a:effectLst/>
              </a:rPr>
              <a:t>Γρήγορη απελευθέρωση καλωδίου (περιστρεφόμενο κουμπί) - άμεση έναρξη εργασίας</a:t>
            </a:r>
          </a:p>
          <a:p>
            <a:pPr algn="l" rtl="0">
              <a:lnSpc>
                <a:spcPct val="120000"/>
              </a:lnSpc>
            </a:pPr>
            <a:endParaRPr lang="el" sz="1100" noProof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1C2C9FC-4EBC-3049-3708-3456BF4D6EC0}"/>
              </a:ext>
            </a:extLst>
          </p:cNvPr>
          <p:cNvSpPr txBox="1"/>
          <p:nvPr/>
        </p:nvSpPr>
        <p:spPr>
          <a:xfrm>
            <a:off x="7384158" y="3910087"/>
            <a:ext cx="4323367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l" sz="1100" b="1" i="0" u="none" baseline="0">
                <a:latin typeface="+mj-lt"/>
                <a:ea typeface="+mj-lt"/>
                <a:cs typeface="+mj-lt"/>
              </a:rPr>
              <a:t>Βελτιωμένη UX/UI σε πολύ μεγάλο προφίλτρο υψηλού βαθμού φιλτραρίσματος</a:t>
            </a:r>
          </a:p>
          <a:p>
            <a:pPr algn="r" rtl="0">
              <a:lnSpc>
                <a:spcPct val="120000"/>
              </a:lnSpc>
            </a:pPr>
            <a:r>
              <a:rPr lang="el" sz="1100" b="0" i="0" u="none" baseline="0"/>
              <a:t>Η απλούστερη δομή προφίλτρου και το μάνδαλο</a:t>
            </a:r>
            <a:r>
              <a:rPr lang="el" sz="1100" b="0" i="0" u="none" strike="noStrike" baseline="0">
                <a:effectLst/>
              </a:rPr>
              <a:t> </a:t>
            </a:r>
            <a:r>
              <a:rPr lang="el" sz="1100" b="0" i="0" u="none" baseline="0"/>
              <a:t> επιτρέπουν την αποτελεσματική χρήση - εξοικονόμηση χρόνου</a:t>
            </a:r>
            <a:endParaRPr lang="el" sz="1100" b="0" i="0" u="none" strike="noStrike" noProof="0">
              <a:effectLst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67C859-503B-D1F7-C778-C5BCD3B9F550}"/>
              </a:ext>
            </a:extLst>
          </p:cNvPr>
          <p:cNvSpPr txBox="1"/>
          <p:nvPr/>
        </p:nvSpPr>
        <p:spPr>
          <a:xfrm>
            <a:off x="8509000" y="2941746"/>
            <a:ext cx="3198525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l" sz="1100" b="0" i="0" u="none" baseline="0" dirty="0">
                <a:latin typeface="+mj-lt"/>
                <a:ea typeface="+mj-lt"/>
                <a:cs typeface="+mj-lt"/>
              </a:rPr>
              <a:t>Ανθεκτικός ποδοδιακόπτης ισχύος</a:t>
            </a:r>
            <a:br>
              <a:rPr lang="el" sz="1100" dirty="0"/>
            </a:br>
            <a:r>
              <a:rPr lang="el" sz="1100" b="0" i="0" u="none" baseline="0" dirty="0"/>
              <a:t>Ευκολότερη και πιο εργονομική χρήση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EE3ABB9-7331-B240-0CFA-E0FC6E31D1E7}"/>
              </a:ext>
            </a:extLst>
          </p:cNvPr>
          <p:cNvSpPr txBox="1"/>
          <p:nvPr/>
        </p:nvSpPr>
        <p:spPr>
          <a:xfrm>
            <a:off x="8201320" y="5495480"/>
            <a:ext cx="3506205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l" sz="1100" b="0" i="0" u="none" baseline="0">
                <a:latin typeface="+mj-lt"/>
                <a:ea typeface="+mj-lt"/>
                <a:cs typeface="+mj-lt"/>
              </a:rPr>
              <a:t>Εκπληκτική ευελιξία</a:t>
            </a:r>
          </a:p>
          <a:p>
            <a:pPr algn="r" rtl="0">
              <a:lnSpc>
                <a:spcPct val="120000"/>
              </a:lnSpc>
            </a:pPr>
            <a:r>
              <a:rPr lang="el" sz="1100" b="0" i="0" u="none" baseline="0"/>
              <a:t>Μετακινηθείτε πιο ομαλά από ό,τι ένα φύλλο που αιωρείται στον αέρα </a:t>
            </a:r>
            <a:br>
              <a:rPr lang="el" sz="1100"/>
            </a:br>
            <a:r>
              <a:rPr lang="el" sz="1100" b="0" i="0" u="none" baseline="0"/>
              <a:t>με τους ανθεκτικούς τροχούς 2K με χαλύβδινο άξονα που δεν αφήνουν σημάδια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3889CE3-C404-E593-03D3-D3B2E6CB24E3}"/>
              </a:ext>
            </a:extLst>
          </p:cNvPr>
          <p:cNvSpPr txBox="1"/>
          <p:nvPr/>
        </p:nvSpPr>
        <p:spPr>
          <a:xfrm>
            <a:off x="481377" y="2995001"/>
            <a:ext cx="4373726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l" sz="1100" b="0" i="0" u="none" baseline="0">
                <a:latin typeface="+mj-lt"/>
                <a:ea typeface="+mj-lt"/>
                <a:cs typeface="+mj-lt"/>
              </a:rPr>
              <a:t>Αποσπώμενο καλώδιο τροφοδοσίας</a:t>
            </a:r>
          </a:p>
          <a:p>
            <a:pPr algn="l" rtl="0">
              <a:lnSpc>
                <a:spcPct val="120000"/>
              </a:lnSpc>
            </a:pPr>
            <a:r>
              <a:rPr lang="el" sz="1100" b="0" i="0" u="none" baseline="0"/>
              <a:t>Αλλαγή καλωδίου χωρίς εργαλεία και έξυπνη ανακούφιση/οδηγός για παράταση της διάρκειας ζωής του καλωδίου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6A6601C-C87D-EFCC-D540-0C85B1448369}"/>
              </a:ext>
            </a:extLst>
          </p:cNvPr>
          <p:cNvSpPr txBox="1"/>
          <p:nvPr/>
        </p:nvSpPr>
        <p:spPr>
          <a:xfrm>
            <a:off x="7691122" y="4619592"/>
            <a:ext cx="4016403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l" sz="1100" b="0" i="0" u="none" baseline="0">
                <a:latin typeface="+mj-lt"/>
                <a:ea typeface="+mj-lt"/>
                <a:cs typeface="+mj-lt"/>
              </a:rPr>
              <a:t>Πιστοποιημένο φίλτρο HEPA*</a:t>
            </a:r>
          </a:p>
          <a:p>
            <a:pPr algn="r" rtl="0">
              <a:lnSpc>
                <a:spcPct val="120000"/>
              </a:lnSpc>
            </a:pPr>
            <a:r>
              <a:rPr lang="el" sz="1100" b="0" i="0" u="none" baseline="0"/>
              <a:t>Γρήγοροι, χωρίς εργαλεία έλεγχοι και αντικαταστάσεις,</a:t>
            </a:r>
          </a:p>
          <a:p>
            <a:pPr algn="r" rtl="0">
              <a:lnSpc>
                <a:spcPct val="120000"/>
              </a:lnSpc>
            </a:pPr>
            <a:r>
              <a:rPr lang="el" sz="1100" b="0" i="0" u="none" baseline="0"/>
              <a:t> που διασφαλίζουν τη βέλτιστη ποιότητα αέρα και εξοικονομούν χρόνο</a:t>
            </a:r>
          </a:p>
        </p:txBody>
      </p:sp>
      <p:cxnSp>
        <p:nvCxnSpPr>
          <p:cNvPr id="14" name="Straight Arrow Connector 88">
            <a:extLst>
              <a:ext uri="{FF2B5EF4-FFF2-40B4-BE49-F238E27FC236}">
                <a16:creationId xmlns:a16="http://schemas.microsoft.com/office/drawing/2014/main" id="{846C46EB-80A8-6C78-9486-791D0CC3C789}"/>
              </a:ext>
            </a:extLst>
          </p:cNvPr>
          <p:cNvCxnSpPr>
            <a:cxnSpLocks/>
          </p:cNvCxnSpPr>
          <p:nvPr/>
        </p:nvCxnSpPr>
        <p:spPr>
          <a:xfrm flipH="1">
            <a:off x="7363835" y="3432463"/>
            <a:ext cx="4323368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95C633B-8799-E452-E50C-A2A9A51023A1}"/>
              </a:ext>
            </a:extLst>
          </p:cNvPr>
          <p:cNvCxnSpPr>
            <a:cxnSpLocks/>
          </p:cNvCxnSpPr>
          <p:nvPr/>
        </p:nvCxnSpPr>
        <p:spPr>
          <a:xfrm>
            <a:off x="495593" y="3458452"/>
            <a:ext cx="481883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88">
            <a:extLst>
              <a:ext uri="{FF2B5EF4-FFF2-40B4-BE49-F238E27FC236}">
                <a16:creationId xmlns:a16="http://schemas.microsoft.com/office/drawing/2014/main" id="{9675DC13-349F-B3ED-129E-50CEB259F3DF}"/>
              </a:ext>
            </a:extLst>
          </p:cNvPr>
          <p:cNvCxnSpPr>
            <a:cxnSpLocks/>
          </p:cNvCxnSpPr>
          <p:nvPr/>
        </p:nvCxnSpPr>
        <p:spPr>
          <a:xfrm flipH="1">
            <a:off x="7861808" y="6141247"/>
            <a:ext cx="3845717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88">
            <a:extLst>
              <a:ext uri="{FF2B5EF4-FFF2-40B4-BE49-F238E27FC236}">
                <a16:creationId xmlns:a16="http://schemas.microsoft.com/office/drawing/2014/main" id="{347044D1-1BC5-3B08-E9BC-3C35B17A83CD}"/>
              </a:ext>
            </a:extLst>
          </p:cNvPr>
          <p:cNvCxnSpPr>
            <a:cxnSpLocks/>
          </p:cNvCxnSpPr>
          <p:nvPr/>
        </p:nvCxnSpPr>
        <p:spPr>
          <a:xfrm flipH="1">
            <a:off x="6881566" y="2860233"/>
            <a:ext cx="4825958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7EDDE89-7960-AF4A-A719-ADBF538A10E2}"/>
              </a:ext>
            </a:extLst>
          </p:cNvPr>
          <p:cNvCxnSpPr>
            <a:cxnSpLocks/>
          </p:cNvCxnSpPr>
          <p:nvPr/>
        </p:nvCxnSpPr>
        <p:spPr>
          <a:xfrm>
            <a:off x="484891" y="2729547"/>
            <a:ext cx="4964555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E54EDB1A-2B1E-B7D6-10C5-FCF2E0A43438}"/>
              </a:ext>
            </a:extLst>
          </p:cNvPr>
          <p:cNvSpPr txBox="1"/>
          <p:nvPr/>
        </p:nvSpPr>
        <p:spPr>
          <a:xfrm>
            <a:off x="481377" y="3705577"/>
            <a:ext cx="4079713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l" sz="1100" b="0" i="0" u="none" baseline="0">
                <a:latin typeface="+mj-lt"/>
                <a:ea typeface="+mj-lt"/>
                <a:cs typeface="+mj-lt"/>
              </a:rPr>
              <a:t>Μεγάλη διάρκεια ζωής</a:t>
            </a:r>
          </a:p>
          <a:p>
            <a:pPr algn="l" rtl="0">
              <a:lnSpc>
                <a:spcPct val="120000"/>
              </a:lnSpc>
            </a:pPr>
            <a:r>
              <a:rPr lang="el" sz="1100" b="0" i="0" u="none" baseline="0"/>
              <a:t>Σώμα ABS, χαλύβδινοι άξονες με μεγάλους τροχούς, κωνικός σωλήνας υψηλής ποιότητας και υψηλής απόδοσης, φίλτρο σάκου XL, μοτέρ μεγάλης διάρκειας ζωής και υψηλής απόδοσης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29D4194-8BE6-A44E-BBE5-D725B12ED201}"/>
              </a:ext>
            </a:extLst>
          </p:cNvPr>
          <p:cNvCxnSpPr>
            <a:cxnSpLocks/>
          </p:cNvCxnSpPr>
          <p:nvPr/>
        </p:nvCxnSpPr>
        <p:spPr>
          <a:xfrm>
            <a:off x="481378" y="4344702"/>
            <a:ext cx="470453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06C2E18A-1BFB-FA76-2591-93DAFFEE3649}"/>
              </a:ext>
            </a:extLst>
          </p:cNvPr>
          <p:cNvSpPr txBox="1"/>
          <p:nvPr/>
        </p:nvSpPr>
        <p:spPr>
          <a:xfrm>
            <a:off x="481377" y="4755230"/>
            <a:ext cx="4253320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l" sz="1100" b="0" i="0" u="none" baseline="0" dirty="0">
                <a:latin typeface="+mj-lt"/>
                <a:ea typeface="+mj-lt"/>
                <a:cs typeface="+mj-lt"/>
              </a:rPr>
              <a:t>Υψηλή δυναμικότητα σε συμπαγή σχεδιασμό</a:t>
            </a:r>
          </a:p>
          <a:p>
            <a:pPr algn="l" rtl="0">
              <a:lnSpc>
                <a:spcPct val="120000"/>
              </a:lnSpc>
            </a:pPr>
            <a:r>
              <a:rPr lang="el" sz="1100" b="0" i="0" u="none" baseline="0" dirty="0"/>
              <a:t>Μία από τις υψηλότερες καθαρές ποσότητες πλήρωσης στην αγορά (σε σύγκριση με το μέγεθος), </a:t>
            </a:r>
            <a:br>
              <a:rPr lang="el" sz="1100" dirty="0"/>
            </a:br>
            <a:r>
              <a:rPr lang="el" sz="1100" b="0" i="0" u="none" baseline="0" dirty="0"/>
              <a:t>που παρατείνει τον χρόνο εργασίας και διατηρεί υψηλότερη απόδοση και χαμηλό TCO</a:t>
            </a:r>
            <a:endParaRPr lang="el" sz="1100" noProof="0" dirty="0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BD84A5F-287F-F357-64D7-7588B9A32BCF}"/>
              </a:ext>
            </a:extLst>
          </p:cNvPr>
          <p:cNvCxnSpPr>
            <a:cxnSpLocks/>
          </p:cNvCxnSpPr>
          <p:nvPr/>
        </p:nvCxnSpPr>
        <p:spPr>
          <a:xfrm>
            <a:off x="495593" y="5390992"/>
            <a:ext cx="543376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391E6356-7D7D-87F6-AFA2-3ED99388B63A}"/>
              </a:ext>
            </a:extLst>
          </p:cNvPr>
          <p:cNvSpPr txBox="1"/>
          <p:nvPr/>
        </p:nvSpPr>
        <p:spPr>
          <a:xfrm>
            <a:off x="481377" y="5477014"/>
            <a:ext cx="6079688" cy="685050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l" sz="1100" b="0" i="0" u="none" baseline="0">
                <a:latin typeface="+mj-lt"/>
                <a:ea typeface="+mj-lt"/>
                <a:cs typeface="+mj-lt"/>
              </a:rPr>
              <a:t>Φανταστικά αθόρυβη, αλλά υψηλή απόδοση</a:t>
            </a:r>
            <a:br>
              <a:rPr lang="el" sz="1100"/>
            </a:br>
            <a:r>
              <a:rPr lang="el" sz="1100" b="0" i="0" u="none" baseline="0"/>
              <a:t>Παρά το γεγονός ότι είναι μία από τις πιο αθόρυβες απορροφητικές σκούπες</a:t>
            </a:r>
          </a:p>
          <a:p>
            <a:pPr algn="l" rtl="0">
              <a:lnSpc>
                <a:spcPct val="120000"/>
              </a:lnSpc>
            </a:pPr>
            <a:r>
              <a:rPr lang="el" sz="1100" b="0" i="0" u="none" baseline="0"/>
              <a:t>στην αγορά, έχει υψηλή ισχύ αναρρόφησης - η πιο αποτελεσματική στην κατηγορία της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174879A-4EB9-E3CF-E419-1A83329BD815}"/>
              </a:ext>
            </a:extLst>
          </p:cNvPr>
          <p:cNvSpPr txBox="1"/>
          <p:nvPr/>
        </p:nvSpPr>
        <p:spPr>
          <a:xfrm>
            <a:off x="7235428" y="1567730"/>
            <a:ext cx="4472097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l" sz="1100" b="0" i="0" u="none" baseline="0">
                <a:latin typeface="+mj-lt"/>
                <a:ea typeface="+mj-lt"/>
                <a:cs typeface="+mj-lt"/>
              </a:rPr>
              <a:t>Φύλαξη καλωδίου - 3 επιλογές</a:t>
            </a:r>
          </a:p>
          <a:p>
            <a:pPr algn="r" rtl="0">
              <a:lnSpc>
                <a:spcPct val="120000"/>
              </a:lnSpc>
            </a:pPr>
            <a:r>
              <a:rPr lang="el" sz="1100" b="0" i="0" u="none" strike="noStrike" baseline="0">
                <a:effectLst/>
              </a:rPr>
              <a:t>Νέος έξυπνος χώρος αποθήκευσης καλωδίου EOB που διασφαλίζει την ετοιμότητα ανά πάσα στιγμή χωρίς ακαταστασία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EFB245F-084F-563D-0787-09AFEA65A111}"/>
              </a:ext>
            </a:extLst>
          </p:cNvPr>
          <p:cNvSpPr txBox="1"/>
          <p:nvPr/>
        </p:nvSpPr>
        <p:spPr>
          <a:xfrm>
            <a:off x="481377" y="1567730"/>
            <a:ext cx="2696381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l" sz="1100" b="0" i="0" u="none" baseline="0">
                <a:latin typeface="+mj-lt"/>
                <a:ea typeface="+mj-lt"/>
                <a:cs typeface="+mj-lt"/>
              </a:rPr>
              <a:t>Νέας σχεδίασης λυγισμένα άκρα </a:t>
            </a:r>
            <a:br>
              <a:rPr lang="el" sz="1100" b="0" i="0" u="none" strike="noStrike">
                <a:effectLst/>
              </a:rPr>
            </a:br>
            <a:r>
              <a:rPr lang="el" sz="1100" b="0" i="0" u="none" strike="noStrike" baseline="0">
                <a:effectLst/>
              </a:rPr>
              <a:t>Βελτιωμένη εργονομία, κράτημα και ανθεκτικότητα </a:t>
            </a:r>
            <a:endParaRPr lang="el" sz="1100" noProof="0"/>
          </a:p>
        </p:txBody>
      </p:sp>
      <p:cxnSp>
        <p:nvCxnSpPr>
          <p:cNvPr id="26" name="Straight Arrow Connector 38">
            <a:extLst>
              <a:ext uri="{FF2B5EF4-FFF2-40B4-BE49-F238E27FC236}">
                <a16:creationId xmlns:a16="http://schemas.microsoft.com/office/drawing/2014/main" id="{464C1837-46DC-791D-C9DC-3756960B13F9}"/>
              </a:ext>
            </a:extLst>
          </p:cNvPr>
          <p:cNvCxnSpPr>
            <a:cxnSpLocks/>
          </p:cNvCxnSpPr>
          <p:nvPr/>
        </p:nvCxnSpPr>
        <p:spPr>
          <a:xfrm flipV="1">
            <a:off x="487165" y="1037704"/>
            <a:ext cx="5161756" cy="993477"/>
          </a:xfrm>
          <a:prstGeom prst="bentConnector3">
            <a:avLst>
              <a:gd name="adj1" fmla="val 8471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392E9B7-5468-69E6-8419-EFC00D2A4D43}"/>
              </a:ext>
            </a:extLst>
          </p:cNvPr>
          <p:cNvCxnSpPr>
            <a:cxnSpLocks/>
          </p:cNvCxnSpPr>
          <p:nvPr/>
        </p:nvCxnSpPr>
        <p:spPr>
          <a:xfrm>
            <a:off x="6491047" y="2038405"/>
            <a:ext cx="5216478" cy="24328"/>
          </a:xfrm>
          <a:prstGeom prst="line">
            <a:avLst/>
          </a:prstGeom>
          <a:ln w="9525">
            <a:solidFill>
              <a:srgbClr val="38AF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03B1C3BB-00D5-730F-226D-46B9A4FDA14D}"/>
              </a:ext>
            </a:extLst>
          </p:cNvPr>
          <p:cNvCxnSpPr>
            <a:cxnSpLocks/>
          </p:cNvCxnSpPr>
          <p:nvPr/>
        </p:nvCxnSpPr>
        <p:spPr>
          <a:xfrm>
            <a:off x="6490771" y="2037895"/>
            <a:ext cx="7630" cy="708683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88">
            <a:extLst>
              <a:ext uri="{FF2B5EF4-FFF2-40B4-BE49-F238E27FC236}">
                <a16:creationId xmlns:a16="http://schemas.microsoft.com/office/drawing/2014/main" id="{FB6375C7-CAF0-0894-15A4-7A8798699758}"/>
              </a:ext>
            </a:extLst>
          </p:cNvPr>
          <p:cNvCxnSpPr>
            <a:cxnSpLocks/>
          </p:cNvCxnSpPr>
          <p:nvPr/>
        </p:nvCxnSpPr>
        <p:spPr>
          <a:xfrm flipH="1">
            <a:off x="7454205" y="4344702"/>
            <a:ext cx="4253320" cy="17484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9A49DAA-2BA9-8535-335D-AE93984B3F40}"/>
              </a:ext>
            </a:extLst>
          </p:cNvPr>
          <p:cNvCxnSpPr>
            <a:cxnSpLocks/>
          </p:cNvCxnSpPr>
          <p:nvPr/>
        </p:nvCxnSpPr>
        <p:spPr>
          <a:xfrm>
            <a:off x="504472" y="6162064"/>
            <a:ext cx="524720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88">
            <a:extLst>
              <a:ext uri="{FF2B5EF4-FFF2-40B4-BE49-F238E27FC236}">
                <a16:creationId xmlns:a16="http://schemas.microsoft.com/office/drawing/2014/main" id="{C081024C-65DB-3ACC-87CA-70A9CE2C47AB}"/>
              </a:ext>
            </a:extLst>
          </p:cNvPr>
          <p:cNvCxnSpPr>
            <a:cxnSpLocks/>
          </p:cNvCxnSpPr>
          <p:nvPr/>
        </p:nvCxnSpPr>
        <p:spPr>
          <a:xfrm flipH="1">
            <a:off x="7454205" y="5286176"/>
            <a:ext cx="425332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98278A9A-F8CC-5D67-FB59-8AB3DE6A99FE}"/>
              </a:ext>
            </a:extLst>
          </p:cNvPr>
          <p:cNvSpPr txBox="1"/>
          <p:nvPr/>
        </p:nvSpPr>
        <p:spPr>
          <a:xfrm>
            <a:off x="8288838" y="507679"/>
            <a:ext cx="3398365" cy="3765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l" sz="800" b="0" i="1" u="none" baseline="0"/>
              <a:t>* Σακούλες και φίλτρα HEPA και τα περισσότερα αξεσουάρ κοινά με τη σειρά VP300 - αλλά με βελτιωμένη χρηστικότητα της σακούλας (χωρητικότητα)</a:t>
            </a:r>
          </a:p>
        </p:txBody>
      </p:sp>
    </p:spTree>
    <p:extLst>
      <p:ext uri="{BB962C8B-B14F-4D97-AF65-F5344CB8AC3E}">
        <p14:creationId xmlns:p14="http://schemas.microsoft.com/office/powerpoint/2010/main" val="384294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3656332-70D5-D666-E0F8-8FE67C906CD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871921-B4C8-3F02-BD09-20E62F2BE07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6</a:t>
            </a:fld>
            <a:endParaRPr lang="el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561EFF-3102-E2A5-FA80-18E28B88C6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Σημαντικά βελτιωμένη διαχείριση καλωδίου | Νέος μηχανισμός ταχείας απελευθέρωσης καλωδίου (γρήγορη/άμεση έναρξη κάθε μέρα)</a:t>
            </a:r>
            <a:endParaRPr lang="el" noProof="0">
              <a:solidFill>
                <a:schemeClr val="tx2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E9B5A30-A6B5-F71E-C085-A84D969F5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dirty="0"/>
              <a:t>3</a:t>
            </a:r>
            <a:r>
              <a:rPr lang="el" b="1" i="0" u="none" baseline="0" dirty="0"/>
              <a:t> | Χαρακτηριστικά του VP700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B05D2D0-AFDF-B0AC-7AE1-ECEB405E2E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9162" y="1795242"/>
            <a:ext cx="4210714" cy="4652935"/>
          </a:xfrm>
          <a:prstGeom prst="rect">
            <a:avLst/>
          </a:prstGeom>
        </p:spPr>
      </p:pic>
      <p:pic>
        <p:nvPicPr>
          <p:cNvPr id="7" name="Picture 6" descr="A vacuum cleaner with a hose on top&#10;&#10;AI-generated content may be incorrect.">
            <a:extLst>
              <a:ext uri="{FF2B5EF4-FFF2-40B4-BE49-F238E27FC236}">
                <a16:creationId xmlns:a16="http://schemas.microsoft.com/office/drawing/2014/main" id="{05B0AC3F-D250-84E2-ADDB-8CCD35F0A64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2488" y="1809876"/>
            <a:ext cx="4147621" cy="46383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3EF66F1-54D4-4875-9539-6E047F9FD8D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994"/>
          <a:stretch>
            <a:fillRect/>
          </a:stretch>
        </p:blipFill>
        <p:spPr>
          <a:xfrm>
            <a:off x="8990718" y="2001195"/>
            <a:ext cx="2296618" cy="2322828"/>
          </a:xfrm>
          <a:prstGeom prst="rect">
            <a:avLst/>
          </a:prstGeom>
          <a:ln>
            <a:solidFill>
              <a:schemeClr val="bg2"/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2241444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F9856FC-7E47-C196-B147-3BF3A2E9BBA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03EF1E-93C7-7E1C-FC8E-761E8236BB5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7</a:t>
            </a:fld>
            <a:endParaRPr lang="el" noProof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8367BC9-188A-1061-AE1F-D904ED0BE6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ργονομική λαβή </a:t>
            </a:r>
            <a:r>
              <a:rPr lang="el" b="0" i="0" u="none" baseline="0">
                <a:sym typeface="Wingdings" panose="05000000000000000000" pitchFamily="2" charset="2"/>
              </a:rPr>
              <a:t>μηχανήματος, UI και</a:t>
            </a:r>
            <a:r>
              <a:rPr lang="el" b="0" i="0" u="none" baseline="0"/>
              <a:t> βελτιωμένη δομή τροχών/δυνατότητα ελιγμών</a:t>
            </a:r>
            <a:endParaRPr lang="el" noProof="0">
              <a:solidFill>
                <a:schemeClr val="tx2"/>
              </a:solidFill>
            </a:endParaRPr>
          </a:p>
          <a:p>
            <a:endParaRPr lang="el" noProof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EE1F9F3-FF11-4CF5-AA66-BD1F142C8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dirty="0"/>
              <a:t>3</a:t>
            </a:r>
            <a:r>
              <a:rPr lang="el" b="1" i="0" u="none" baseline="0" dirty="0"/>
              <a:t> | Χαρακτηριστικά του VP700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C88A4787-0E12-F22D-53E8-992706A83766}"/>
              </a:ext>
            </a:extLst>
          </p:cNvPr>
          <p:cNvSpPr txBox="1">
            <a:spLocks/>
          </p:cNvSpPr>
          <p:nvPr/>
        </p:nvSpPr>
        <p:spPr>
          <a:xfrm>
            <a:off x="479426" y="1412875"/>
            <a:ext cx="4742656" cy="487045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l"/>
            </a:defPPr>
            <a:lvl1pPr marL="0" algn="l" defTabSz="1023967" rtl="0" eaLnBrk="1" latinLnBrk="0" hangingPunct="1"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endParaRPr lang="el" sz="1400" noProof="0">
              <a:solidFill>
                <a:srgbClr val="28313F"/>
              </a:solidFill>
              <a:latin typeface="Roboto Bold"/>
            </a:endParaRPr>
          </a:p>
          <a:p>
            <a:pPr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r>
              <a:rPr lang="el" sz="1400" b="0" i="0" u="none" baseline="0">
                <a:solidFill>
                  <a:srgbClr val="28313F"/>
                </a:solidFill>
                <a:latin typeface="Roboto Bold"/>
                <a:ea typeface="Roboto Bold"/>
                <a:cs typeface="Roboto Bold"/>
              </a:rPr>
              <a:t>Αναδιπλούμενη, άνετη λαβή μηχανήματος</a:t>
            </a:r>
          </a:p>
          <a:p>
            <a:pPr marL="171450" indent="-171450"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200" b="0" i="0" u="none" baseline="0">
                <a:solidFill>
                  <a:srgbClr val="28313F"/>
                </a:solidFill>
              </a:rPr>
              <a:t>Μείωση της καταπόνησης για καλύτερη υγεία του χρήστη</a:t>
            </a:r>
          </a:p>
          <a:p>
            <a:pPr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endParaRPr lang="el" sz="1400" noProof="0">
              <a:solidFill>
                <a:srgbClr val="28313F"/>
              </a:solidFill>
              <a:latin typeface="Roboto Bold"/>
            </a:endParaRPr>
          </a:p>
          <a:p>
            <a:pPr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r>
              <a:rPr lang="el" sz="1400" b="0" i="0" u="none" baseline="0">
                <a:solidFill>
                  <a:srgbClr val="28313F"/>
                </a:solidFill>
                <a:latin typeface="Roboto Bold"/>
                <a:ea typeface="Roboto Bold"/>
                <a:cs typeface="Roboto Bold"/>
              </a:rPr>
              <a:t>Μεγάλοι, στιβαροί πίσω τροχοί με χαλύβδινους άξονες</a:t>
            </a:r>
          </a:p>
          <a:p>
            <a:pPr marL="171450" indent="-171450"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200" b="0" i="0" u="none" baseline="0">
                <a:solidFill>
                  <a:srgbClr val="28313F"/>
                </a:solidFill>
              </a:rPr>
              <a:t>Μακράς διάρκειας, σταθερό μηχάνημα, με ελαχιστοποίηση του χρόνου παραμονής εκτός λειτουργίας</a:t>
            </a:r>
          </a:p>
          <a:p>
            <a:pPr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endParaRPr lang="el" sz="1400" noProof="0">
              <a:solidFill>
                <a:srgbClr val="28313F"/>
              </a:solidFill>
              <a:latin typeface="Roboto Bold"/>
            </a:endParaRPr>
          </a:p>
          <a:p>
            <a:pPr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r>
              <a:rPr lang="el" sz="1400" b="0" i="0" u="none" baseline="0">
                <a:solidFill>
                  <a:srgbClr val="28313F"/>
                </a:solidFill>
                <a:latin typeface="Roboto Bold"/>
                <a:ea typeface="Roboto Bold"/>
                <a:cs typeface="Roboto Bold"/>
              </a:rPr>
              <a:t>Βάση τροχών 2K που δεν αφήνουν σημάδια με απρόσκοπτη κύλιση</a:t>
            </a:r>
          </a:p>
          <a:p>
            <a:pPr marL="171450" indent="-171450"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200" b="0" i="0" u="none" baseline="0">
                <a:solidFill>
                  <a:srgbClr val="28313F"/>
                </a:solidFill>
              </a:rPr>
              <a:t>Εύκολη χρήση σε οποιαδήποτε επιφάνεια, διατηρείται ελαφρύτερο για τον χειριστή</a:t>
            </a:r>
          </a:p>
          <a:p>
            <a:pPr marL="171450" indent="-171450"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200" b="0" i="0" u="none" baseline="0">
                <a:solidFill>
                  <a:srgbClr val="28313F"/>
                </a:solidFill>
              </a:rPr>
              <a:t>Μελετημένη μπροστινή γωνία για ευκολότερη πρόσβαση σε πλαίσια θυρών</a:t>
            </a:r>
          </a:p>
          <a:p>
            <a:pPr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endParaRPr lang="el" sz="1400" noProof="0">
              <a:solidFill>
                <a:srgbClr val="28313F"/>
              </a:solidFill>
              <a:latin typeface="Roboto Bold"/>
            </a:endParaRPr>
          </a:p>
          <a:p>
            <a:pPr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r>
              <a:rPr lang="el" sz="1400" b="0" i="0" u="none" baseline="0">
                <a:solidFill>
                  <a:srgbClr val="28313F"/>
                </a:solidFill>
                <a:latin typeface="Roboto Bold"/>
                <a:ea typeface="Roboto Bold"/>
                <a:cs typeface="Roboto Bold"/>
              </a:rPr>
              <a:t>Βολική στάθμευση του σωλήνα για σωστή/ασφαλή αποθήκευση για την εκτέλεση άλλων εργασιών κατά τη διάρκεια μιας βάρδιας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44F8AF5-7E17-A11C-B351-17A245BEDF6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4214" y="2127975"/>
            <a:ext cx="3331680" cy="37989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ABA8B8E-9D7E-BB5D-153F-CC0C2256070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1175" y="1475662"/>
            <a:ext cx="2249077" cy="2515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5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C035DD-B45F-81A2-D463-E7DCEDBA7E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371C01C-5555-CCFB-95A1-FBC0399F9A4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D6FD64-FE7F-E4A9-68CD-F7C452E30DE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8</a:t>
            </a:fld>
            <a:endParaRPr lang="el" noProof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3306DF8-5765-7B54-5E25-A68471BDC4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Λεπτομέρειες σχεδιασμού | Βελτιωμένη UI και ευκολία χρήσης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0658CDC-592F-C2A8-4F06-D10052DDA1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dirty="0"/>
              <a:t>3</a:t>
            </a:r>
            <a:r>
              <a:rPr lang="el" b="1" i="0" u="none" baseline="0" dirty="0"/>
              <a:t> | Χαρακτηριστικά του VP700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3A73305-1F4E-1B3D-7A74-78A4377DFB10}"/>
              </a:ext>
            </a:extLst>
          </p:cNvPr>
          <p:cNvSpPr txBox="1">
            <a:spLocks/>
          </p:cNvSpPr>
          <p:nvPr/>
        </p:nvSpPr>
        <p:spPr>
          <a:xfrm>
            <a:off x="479425" y="1412875"/>
            <a:ext cx="4221163" cy="487045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l"/>
            </a:defPPr>
            <a:lvl1pPr marL="0" algn="l" defTabSz="1023967" rtl="0" eaLnBrk="1" latinLnBrk="0" hangingPunct="1"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endParaRPr lang="el" sz="1400" noProof="0">
              <a:solidFill>
                <a:srgbClr val="28313F"/>
              </a:solidFill>
              <a:latin typeface="Roboto Bold"/>
            </a:endParaRPr>
          </a:p>
          <a:p>
            <a:pPr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r>
              <a:rPr lang="el" sz="1400" b="0" i="0" u="none" baseline="0">
                <a:solidFill>
                  <a:srgbClr val="28313F"/>
                </a:solidFill>
                <a:latin typeface="Roboto Bold"/>
                <a:ea typeface="Roboto Bold"/>
                <a:cs typeface="Roboto Bold"/>
              </a:rPr>
              <a:t>Μεγάλος, ανθεκτικός διακόπτης ισχύος</a:t>
            </a:r>
          </a:p>
          <a:p>
            <a:pPr marL="171450" indent="-171450"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200" b="0" i="0" u="none" baseline="0">
                <a:solidFill>
                  <a:srgbClr val="28313F"/>
                </a:solidFill>
              </a:rPr>
              <a:t>Γρήγορο UI</a:t>
            </a:r>
          </a:p>
          <a:p>
            <a:pPr marL="171450" indent="-171450"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200" b="0" i="0" u="none" baseline="0">
                <a:solidFill>
                  <a:srgbClr val="28313F"/>
                </a:solidFill>
              </a:rPr>
              <a:t>Δυνατότητα χειρισμού με το πόδι </a:t>
            </a:r>
          </a:p>
          <a:p>
            <a:pPr marL="171450" indent="-171450"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200" b="0" i="0" u="none" baseline="0">
                <a:solidFill>
                  <a:srgbClr val="28313F"/>
                </a:solidFill>
              </a:rPr>
              <a:t>Μειωμένη κόπωση του χειριστή/Λιγότεροι τραυματισμοί</a:t>
            </a:r>
          </a:p>
          <a:p>
            <a:pPr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endParaRPr lang="el" sz="1400" noProof="0">
              <a:solidFill>
                <a:srgbClr val="28313F"/>
              </a:solidFill>
              <a:latin typeface="Roboto Bold"/>
            </a:endParaRPr>
          </a:p>
          <a:p>
            <a:pPr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r>
              <a:rPr lang="el" sz="1400" b="0" i="0" u="none" baseline="0">
                <a:solidFill>
                  <a:srgbClr val="28313F"/>
                </a:solidFill>
                <a:latin typeface="Roboto Bold"/>
                <a:ea typeface="Roboto Bold"/>
                <a:cs typeface="Roboto Bold"/>
              </a:rPr>
              <a:t>Διπλή ταχύτητα*</a:t>
            </a:r>
          </a:p>
          <a:p>
            <a:pPr marL="171450" indent="-171450"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200" b="0" i="0" u="none" baseline="0">
                <a:solidFill>
                  <a:srgbClr val="28313F"/>
                </a:solidFill>
              </a:rPr>
              <a:t>Προσαρμογή στις συγκεκριμένες ανάγκες του πελάτη…:</a:t>
            </a:r>
          </a:p>
          <a:p>
            <a:pPr marL="683434" lvl="1" indent="-171450"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28313F"/>
                </a:solidFill>
              </a:rPr>
              <a:t>Αθόρυβη λειτουργία</a:t>
            </a:r>
            <a:br>
              <a:rPr lang="el" sz="1000">
                <a:solidFill>
                  <a:srgbClr val="28313F"/>
                </a:solidFill>
              </a:rPr>
            </a:br>
            <a:r>
              <a:rPr lang="el" sz="1000" b="0" i="0" u="none" baseline="0">
                <a:solidFill>
                  <a:srgbClr val="28313F"/>
                </a:solidFill>
              </a:rPr>
              <a:t>Μειώνει το ήδη εξαιρετικά χαμηλό επίπεδο θορύβου στα περίπου 48 dB (απόσταση χειριστή 2 m**), το οποίο είναι από τα καλύτερα στην αγορά</a:t>
            </a:r>
          </a:p>
          <a:p>
            <a:pPr marL="683434" lvl="1" indent="-171450"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28313F"/>
                </a:solidFill>
              </a:rPr>
              <a:t>Ιδανικό για καθαρισμό σε περιοχές ευαίσθητες στον θόρυβο</a:t>
            </a:r>
          </a:p>
          <a:p>
            <a:pPr marL="1195417" lvl="2" indent="-171450"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28313F"/>
                </a:solidFill>
              </a:rPr>
              <a:t>Κατά τη διάρκεια των μαθημάτων</a:t>
            </a:r>
          </a:p>
          <a:p>
            <a:pPr marL="1195417" lvl="2" indent="-171450"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28313F"/>
                </a:solidFill>
              </a:rPr>
              <a:t>Τοποθεσίες υγειονομικής περίθαλψης</a:t>
            </a:r>
          </a:p>
          <a:p>
            <a:pPr marL="1195417" lvl="2" indent="-171450"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28313F"/>
                </a:solidFill>
              </a:rPr>
              <a:t>Ξενοδοχεία </a:t>
            </a:r>
          </a:p>
          <a:p>
            <a:pPr marL="1195417" lvl="2" indent="-171450"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28313F"/>
                </a:solidFill>
              </a:rPr>
              <a:t>κ.λπ.</a:t>
            </a:r>
          </a:p>
          <a:p>
            <a:pPr marL="171450" indent="-171450"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200" b="0" i="0" u="none" baseline="0">
                <a:solidFill>
                  <a:srgbClr val="28313F"/>
                </a:solidFill>
              </a:rPr>
              <a:t>Τα μοντέλα διπλής ταχύτητας διαθέτουν ήπια εκκίνηση</a:t>
            </a:r>
          </a:p>
          <a:p>
            <a:pPr marL="171450" indent="-171450"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endParaRPr lang="el" sz="1400" noProof="0">
              <a:solidFill>
                <a:srgbClr val="28313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9AB7D5-8AAB-95B4-EADE-131F3E70B5E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4214" y="2127975"/>
            <a:ext cx="3331680" cy="379899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DB32DD0-B310-DDD2-7DF2-8F7F4E6B946B}"/>
              </a:ext>
            </a:extLst>
          </p:cNvPr>
          <p:cNvSpPr txBox="1"/>
          <p:nvPr/>
        </p:nvSpPr>
        <p:spPr>
          <a:xfrm>
            <a:off x="6114504" y="5985254"/>
            <a:ext cx="545323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el" sz="800" b="0" i="1" u="none" baseline="0"/>
              <a:t>* Επιλεγμένα μοντέλα (S2)</a:t>
            </a:r>
          </a:p>
          <a:p>
            <a:pPr algn="l" rtl="0"/>
            <a:r>
              <a:rPr lang="el" sz="800" b="0" i="1" u="none" baseline="0"/>
              <a:t>** Έχουν υποβληθεί σε δοκιμή ηχητικής πίεσης σύμφωνα με το πρότυπο IEC, σε αυτό το αποτέλεσμα, βρίσκεται σε απόσταση 2 m αντί για 1 m</a:t>
            </a:r>
          </a:p>
        </p:txBody>
      </p:sp>
      <p:pic>
        <p:nvPicPr>
          <p:cNvPr id="11" name="Picture 10" descr="A close up of a device&#10;&#10;AI-generated content may be incorrect.">
            <a:extLst>
              <a:ext uri="{FF2B5EF4-FFF2-40B4-BE49-F238E27FC236}">
                <a16:creationId xmlns:a16="http://schemas.microsoft.com/office/drawing/2014/main" id="{6992A889-AEBE-78D1-F181-43976286A76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005633" y="2127975"/>
            <a:ext cx="1704989" cy="1643613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157BF64-FC12-CFA5-1315-53CFB2CACE97}"/>
              </a:ext>
            </a:extLst>
          </p:cNvPr>
          <p:cNvSpPr txBox="1"/>
          <p:nvPr/>
        </p:nvSpPr>
        <p:spPr>
          <a:xfrm>
            <a:off x="9937173" y="3829871"/>
            <a:ext cx="177540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rtl="0">
              <a:buNone/>
            </a:pPr>
            <a:r>
              <a:rPr lang="el" sz="1200" b="0" i="1" u="none" baseline="0">
                <a:solidFill>
                  <a:srgbClr val="28313F"/>
                </a:solidFill>
              </a:rPr>
              <a:t>Ενσωματωμένα εικονίδια για καλύτερη καθοδήγηση</a:t>
            </a:r>
            <a:endParaRPr lang="el" sz="1200" i="1" noProof="0"/>
          </a:p>
        </p:txBody>
      </p:sp>
    </p:spTree>
    <p:extLst>
      <p:ext uri="{BB962C8B-B14F-4D97-AF65-F5344CB8AC3E}">
        <p14:creationId xmlns:p14="http://schemas.microsoft.com/office/powerpoint/2010/main" val="2693774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Nilfisk VP300 / VP400 / VP600, 10 stk. støvsugerposer">
            <a:extLst>
              <a:ext uri="{FF2B5EF4-FFF2-40B4-BE49-F238E27FC236}">
                <a16:creationId xmlns:a16="http://schemas.microsoft.com/office/drawing/2014/main" id="{DF139611-D31C-AF45-CE1B-A4BB413994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0069" y="1354017"/>
            <a:ext cx="2334955" cy="2334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3A628D0D-4ECB-5259-203A-76A980F65A03}"/>
              </a:ext>
            </a:extLst>
          </p:cNvPr>
          <p:cNvSpPr txBox="1">
            <a:spLocks/>
          </p:cNvSpPr>
          <p:nvPr/>
        </p:nvSpPr>
        <p:spPr>
          <a:xfrm>
            <a:off x="5926966" y="3378993"/>
            <a:ext cx="2224053" cy="2904332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300"/>
              </a:spcBef>
              <a:buClrTx/>
              <a:buSzTx/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r>
              <a:rPr kumimoji="0" lang="el" sz="14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Φίλτρο ΗΕΡΑ</a:t>
            </a:r>
          </a:p>
          <a:p>
            <a:pPr marL="173736" lvl="1" indent="-173736" algn="l" rtl="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Σημείο λαβής και χρωματική επισήμανση για </a:t>
            </a: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βελτιστοποίηση της χρηστικότητας και του χρόνου </a:t>
            </a:r>
          </a:p>
          <a:p>
            <a:pPr marL="173736" lvl="1" indent="-173736" algn="l" rtl="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  <a:sym typeface="Wingdings" panose="05000000000000000000" pitchFamily="2" charset="2"/>
              </a:rPr>
              <a:t>Δεν χρειάζονται εργαλεία για πρόσβαση/αλλαγή</a:t>
            </a:r>
          </a:p>
          <a:p>
            <a:pPr marL="173736" lvl="1" indent="-173736" algn="l" rtl="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  <a:sym typeface="Wingdings" panose="05000000000000000000" pitchFamily="2" charset="2"/>
              </a:rPr>
              <a:t>Διασφάλιση καλής και υγιεινής ποιότητας αέρα:</a:t>
            </a:r>
          </a:p>
          <a:p>
            <a:pPr marL="347472" marR="0" lvl="2" indent="-171450" algn="l" defTabSz="1023967" rtl="0" eaLnBrk="1" fontAlgn="auto" latinLnBrk="0" hangingPunct="1">
              <a:lnSpc>
                <a:spcPct val="120000"/>
              </a:lnSpc>
              <a:spcBef>
                <a:spcPts val="300"/>
              </a:spcBef>
              <a:buClrTx/>
              <a:buSzTx/>
              <a:buFont typeface="Roboto Light" panose="02000000000000000000" pitchFamily="2" charset="0"/>
              <a:buChar char="­"/>
              <a:tabLst>
                <a:tab pos="2867025" algn="l"/>
              </a:tabLst>
              <a:defRPr/>
            </a:pP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  <a:sym typeface="Wingdings" panose="05000000000000000000" pitchFamily="2" charset="2"/>
              </a:rPr>
              <a:t>Συγκράτηση μικρών σωματιδίων που είναι επικίνδυνα για την υγεία </a:t>
            </a:r>
          </a:p>
          <a:p>
            <a:pPr marL="347472" marR="0" lvl="2" indent="-171450" algn="l" defTabSz="1023967" rtl="0" eaLnBrk="1" fontAlgn="auto" latinLnBrk="0" hangingPunct="1">
              <a:lnSpc>
                <a:spcPct val="120000"/>
              </a:lnSpc>
              <a:spcBef>
                <a:spcPts val="300"/>
              </a:spcBef>
              <a:buClrTx/>
              <a:buSzTx/>
              <a:buFont typeface="Roboto Light" panose="02000000000000000000" pitchFamily="2" charset="0"/>
              <a:buChar char="­"/>
              <a:tabLst>
                <a:tab pos="2867025" algn="l"/>
              </a:tabLst>
              <a:defRPr/>
            </a:pP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  <a:sym typeface="Wingdings" panose="05000000000000000000" pitchFamily="2" charset="2"/>
              </a:rPr>
              <a:t>HEPA 13 ή HEPA 14</a:t>
            </a:r>
          </a:p>
          <a:p>
            <a:pPr marL="347472" marR="0" lvl="2" indent="-171450" algn="l" defTabSz="1023967" rtl="0" eaLnBrk="1" fontAlgn="auto" latinLnBrk="0" hangingPunct="1">
              <a:lnSpc>
                <a:spcPct val="120000"/>
              </a:lnSpc>
              <a:spcBef>
                <a:spcPts val="300"/>
              </a:spcBef>
              <a:buClrTx/>
              <a:buSzTx/>
              <a:buFont typeface="Roboto Light" panose="02000000000000000000" pitchFamily="2" charset="0"/>
              <a:buChar char="­"/>
              <a:tabLst>
                <a:tab pos="2867025" algn="l"/>
              </a:tabLst>
              <a:defRPr/>
            </a:pP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  <a:sym typeface="Wingdings" panose="05000000000000000000" pitchFamily="2" charset="2"/>
              </a:rPr>
              <a:t>Χ</a:t>
            </a: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ρησιμοποιείται για ολόκληρη τη σειρά της Nilfisk με κόμπακτ επαγγελματικές απορροφητικές σκούπες με δοχείο στερεών: VP300, VP400, VP500 και VP700</a:t>
            </a:r>
            <a:endParaRPr kumimoji="0" lang="el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+mn-ea"/>
              <a:cs typeface="+mn-cs"/>
              <a:sym typeface="Wingdings" panose="05000000000000000000" pitchFamily="2" charset="2"/>
            </a:endParaRPr>
          </a:p>
          <a:p>
            <a:pPr marL="171450" marR="0" lvl="0" indent="-171450" algn="l" defTabSz="1023967" rtl="0" eaLnBrk="1" fontAlgn="auto" latinLnBrk="0" hangingPunct="1">
              <a:lnSpc>
                <a:spcPct val="120000"/>
              </a:lnSpc>
              <a:spcBef>
                <a:spcPts val="300"/>
              </a:spcBef>
              <a:buClrTx/>
              <a:buSzTx/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endParaRPr kumimoji="0" lang="el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2C4989A4-1528-6F2F-9693-B3CF88C55823}"/>
              </a:ext>
            </a:extLst>
          </p:cNvPr>
          <p:cNvSpPr txBox="1">
            <a:spLocks/>
          </p:cNvSpPr>
          <p:nvPr/>
        </p:nvSpPr>
        <p:spPr>
          <a:xfrm>
            <a:off x="3201244" y="3378993"/>
            <a:ext cx="2224053" cy="2904332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20000"/>
              </a:lnSpc>
              <a:spcBef>
                <a:spcPts val="300"/>
              </a:spcBef>
              <a:buNone/>
              <a:tabLst>
                <a:tab pos="2867025" algn="l"/>
              </a:tabLst>
              <a:defRPr/>
            </a:pPr>
            <a:r>
              <a:rPr lang="el" b="0" i="0" u="none" baseline="0">
                <a:solidFill>
                  <a:srgbClr val="28313F"/>
                </a:solidFill>
                <a:latin typeface="Roboto Bold"/>
                <a:ea typeface="Roboto Bold"/>
                <a:cs typeface="Roboto Bold"/>
              </a:rPr>
              <a:t>Προφίλτρο σακούλας</a:t>
            </a:r>
          </a:p>
          <a:p>
            <a:pPr marL="173736" lvl="1" indent="-173736" algn="l" rtl="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Εξαιρετικά μεγάλο και υψηλός βαθμός φιλταρίσματος:</a:t>
            </a:r>
          </a:p>
          <a:p>
            <a:pPr marL="347472" lvl="2" indent="-171450" algn="l" rtl="0">
              <a:lnSpc>
                <a:spcPct val="120000"/>
              </a:lnSpc>
              <a:spcBef>
                <a:spcPts val="300"/>
              </a:spcBef>
              <a:buFont typeface="Roboto Light" panose="02000000000000000000" pitchFamily="2" charset="0"/>
              <a:buChar char="­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Μεγάλες επιφάνειες GD1000</a:t>
            </a:r>
          </a:p>
          <a:p>
            <a:pPr marL="347472" lvl="2" indent="-171450" algn="l" rtl="0">
              <a:lnSpc>
                <a:spcPct val="120000"/>
              </a:lnSpc>
              <a:spcBef>
                <a:spcPts val="300"/>
              </a:spcBef>
              <a:buFont typeface="Roboto Light" panose="02000000000000000000" pitchFamily="2" charset="0"/>
              <a:buChar char="­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Διατήρηση υψηλής απόδοσης</a:t>
            </a:r>
          </a:p>
          <a:p>
            <a:pPr marL="347472" lvl="2" indent="-171450" algn="l" rtl="0">
              <a:lnSpc>
                <a:spcPct val="120000"/>
              </a:lnSpc>
              <a:spcBef>
                <a:spcPts val="300"/>
              </a:spcBef>
              <a:buFont typeface="Roboto Light" panose="02000000000000000000" pitchFamily="2" charset="0"/>
              <a:buChar char="­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Προστατεύει το μηχάνημα</a:t>
            </a:r>
          </a:p>
          <a:p>
            <a:pPr lvl="2" algn="l" rtl="0">
              <a:lnSpc>
                <a:spcPct val="120000"/>
              </a:lnSpc>
              <a:spcBef>
                <a:spcPts val="300"/>
              </a:spcBef>
            </a:pPr>
            <a:endParaRPr lang="el" sz="1000" noProof="0">
              <a:solidFill>
                <a:srgbClr val="000000"/>
              </a:solidFill>
            </a:endParaRPr>
          </a:p>
          <a:p>
            <a:pPr marL="173736" lvl="1" indent="-173736" algn="l" rtl="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Γρήγορη και εύκολη επιθεώρηση/αλλαγή</a:t>
            </a:r>
          </a:p>
          <a:p>
            <a:pPr marL="347472" lvl="2" indent="-171450" algn="l" rtl="0">
              <a:lnSpc>
                <a:spcPct val="120000"/>
              </a:lnSpc>
              <a:spcBef>
                <a:spcPts val="300"/>
              </a:spcBef>
              <a:buFont typeface="Roboto Light" panose="02000000000000000000" pitchFamily="2" charset="0"/>
              <a:buChar char="­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Απλοποιημένη δομή σε σύγκριση με το GD1000</a:t>
            </a:r>
            <a:br>
              <a:rPr lang="el" sz="1000">
                <a:solidFill>
                  <a:srgbClr val="000000"/>
                </a:solidFill>
                <a:latin typeface="Roboto Light"/>
              </a:rPr>
            </a:b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- Καλύτερη UX, πρόσφυση, ανοχή, αρχή</a:t>
            </a:r>
          </a:p>
          <a:p>
            <a:pPr marL="347472" lvl="2" indent="-171450" algn="l" rtl="0">
              <a:lnSpc>
                <a:spcPct val="120000"/>
              </a:lnSpc>
              <a:spcBef>
                <a:spcPts val="300"/>
              </a:spcBef>
              <a:buFont typeface="Roboto Light" panose="02000000000000000000" pitchFamily="2" charset="0"/>
              <a:buChar char="­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Επισημασμένα χρωματιστά σημεία αφής</a:t>
            </a:r>
          </a:p>
          <a:p>
            <a:pPr marL="347472" lvl="2" indent="-171450" algn="l" rtl="0">
              <a:lnSpc>
                <a:spcPct val="120000"/>
              </a:lnSpc>
              <a:spcBef>
                <a:spcPts val="300"/>
              </a:spcBef>
              <a:buFont typeface="Roboto Light" panose="02000000000000000000" pitchFamily="2" charset="0"/>
              <a:buChar char="­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PN και εικόνες/οδηγός </a:t>
            </a:r>
          </a:p>
          <a:p>
            <a:pPr marL="171450" indent="-171450" algn="l" rtl="0">
              <a:lnSpc>
                <a:spcPct val="120000"/>
              </a:lnSpc>
              <a:spcBef>
                <a:spcPts val="300"/>
              </a:spcBef>
              <a:tabLst>
                <a:tab pos="2867025" algn="l"/>
              </a:tabLst>
              <a:defRPr/>
            </a:pPr>
            <a:endParaRPr lang="el" noProof="0">
              <a:solidFill>
                <a:srgbClr val="28313F"/>
              </a:solidFill>
            </a:endParaRP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155838B6-9D9A-956B-D65A-2314D5BF75F0}"/>
              </a:ext>
            </a:extLst>
          </p:cNvPr>
          <p:cNvSpPr txBox="1">
            <a:spLocks/>
          </p:cNvSpPr>
          <p:nvPr/>
        </p:nvSpPr>
        <p:spPr>
          <a:xfrm>
            <a:off x="475521" y="3378993"/>
            <a:ext cx="2224053" cy="2904332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l" rtl="0">
              <a:lnSpc>
                <a:spcPct val="120000"/>
              </a:lnSpc>
              <a:spcBef>
                <a:spcPts val="300"/>
              </a:spcBef>
              <a:buNone/>
              <a:tabLst>
                <a:tab pos="2867025" algn="l"/>
              </a:tabLst>
              <a:defRPr/>
            </a:pPr>
            <a:r>
              <a:rPr lang="el" b="0" i="0" u="none" baseline="0">
                <a:solidFill>
                  <a:srgbClr val="28313F"/>
                </a:solidFill>
                <a:latin typeface="Roboto Bold"/>
                <a:ea typeface="Roboto Bold"/>
                <a:cs typeface="Roboto Bold"/>
              </a:rPr>
              <a:t>Σακούλα σκόνης</a:t>
            </a:r>
          </a:p>
          <a:p>
            <a:pPr marL="173736" lvl="1" indent="-173736" algn="l" rtl="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Ισχύει για: </a:t>
            </a:r>
          </a:p>
          <a:p>
            <a:pPr marL="347472" lvl="2" indent="-171450" algn="l" rtl="0">
              <a:lnSpc>
                <a:spcPct val="120000"/>
              </a:lnSpc>
              <a:spcBef>
                <a:spcPts val="300"/>
              </a:spcBef>
              <a:buFont typeface="Roboto Light" panose="02000000000000000000" pitchFamily="2" charset="0"/>
              <a:buChar char="­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Σειρά VP300 (VP300, VP400, VP500) και VP700</a:t>
            </a:r>
          </a:p>
          <a:p>
            <a:pPr marL="347472" lvl="2" indent="-171450" algn="l" rtl="0">
              <a:lnSpc>
                <a:spcPct val="120000"/>
              </a:lnSpc>
              <a:spcBef>
                <a:spcPts val="300"/>
              </a:spcBef>
              <a:buFont typeface="Roboto Light" panose="02000000000000000000" pitchFamily="2" charset="0"/>
              <a:buChar char="­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Αλλά υψηλότερη/καλύτερη χρηστικότητα του μεγέθους της σακούλας στο VP700</a:t>
            </a:r>
            <a:br>
              <a:rPr lang="el" sz="1000">
                <a:solidFill>
                  <a:srgbClr val="000000"/>
                </a:solidFill>
                <a:latin typeface="Roboto Light"/>
              </a:rPr>
            </a:b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Wingdings" panose="05000000000000000000" pitchFamily="2" charset="2"/>
              </a:rPr>
              <a:t> περ. 50% υψηλότερη από μια ήδη υψηλή ποσότητα πλήρωσης στο VP300</a:t>
            </a:r>
            <a:br>
              <a:rPr lang="el" sz="1000">
                <a:solidFill>
                  <a:srgbClr val="000000"/>
                </a:solidFill>
                <a:latin typeface="Roboto Light"/>
                <a:sym typeface="Wingdings" panose="05000000000000000000" pitchFamily="2" charset="2"/>
              </a:rPr>
            </a:b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Wingdings" panose="05000000000000000000" pitchFamily="2" charset="2"/>
              </a:rPr>
              <a:t>(και το μοντέλο είναι μόνο ελαφρώς μεγαλύτερο σε διαστάσεις)</a:t>
            </a:r>
            <a:br>
              <a:rPr lang="el" sz="1000">
                <a:solidFill>
                  <a:srgbClr val="000000"/>
                </a:solidFill>
                <a:latin typeface="Roboto Light"/>
                <a:sym typeface="Wingdings" panose="05000000000000000000" pitchFamily="2" charset="2"/>
              </a:rPr>
            </a:b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Wingdings" panose="05000000000000000000" pitchFamily="2" charset="2"/>
              </a:rPr>
              <a:t> χαμηλότερο TCO και μεγαλύτερος χρόνος λειτουργίας</a:t>
            </a:r>
            <a:endParaRPr lang="el" sz="1000" noProof="0">
              <a:solidFill>
                <a:srgbClr val="000000"/>
              </a:solidFill>
              <a:latin typeface="Roboto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EB3FF70-FA37-C012-B2A4-C0E7A3C9E73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BEA377-3CAB-8C2F-2385-AD29DD6BC83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9</a:t>
            </a:fld>
            <a:endParaRPr lang="el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06CAECE-5EC6-9336-C054-4C4FABFE23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Φιλτράρισμα: Σακούλα, προφίλτρο και HEPA | Βελτιωμένη δυνατότητα σέρβις και χρηστικότητα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FE1CA22-D8EA-677C-132B-6B75399DB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dirty="0"/>
              <a:t>3</a:t>
            </a:r>
            <a:r>
              <a:rPr lang="el" b="1" i="0" u="none" baseline="0" dirty="0"/>
              <a:t> | Χαρακτηριστικά του VP700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D5A91E4-D0FD-FEAA-F3A9-969B6B505CA6}"/>
              </a:ext>
            </a:extLst>
          </p:cNvPr>
          <p:cNvSpPr txBox="1">
            <a:spLocks/>
          </p:cNvSpPr>
          <p:nvPr/>
        </p:nvSpPr>
        <p:spPr>
          <a:xfrm>
            <a:off x="3086893" y="3228975"/>
            <a:ext cx="2321321" cy="305435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l"/>
            </a:defPPr>
            <a:lvl1pPr marL="0" algn="l" defTabSz="1023967" rtl="0" eaLnBrk="1" latinLnBrk="0" hangingPunct="1"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l" rtl="0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endParaRPr lang="el" noProof="0">
              <a:solidFill>
                <a:srgbClr val="28313F"/>
              </a:solidFill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0E9C0BFD-2E5B-7F76-B9DB-122A51534B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84867" y="1880190"/>
            <a:ext cx="2397841" cy="1348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A white cylinder with black handle&#10;&#10;AI-generated content may be incorrect.">
            <a:extLst>
              <a:ext uri="{FF2B5EF4-FFF2-40B4-BE49-F238E27FC236}">
                <a16:creationId xmlns:a16="http://schemas.microsoft.com/office/drawing/2014/main" id="{27D1393A-BA63-4156-7FEA-E87DC61F171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1243" y="1834884"/>
            <a:ext cx="1846814" cy="1306778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57C1388-D268-111A-E529-727293A60863}"/>
              </a:ext>
            </a:extLst>
          </p:cNvPr>
          <p:cNvCxnSpPr>
            <a:cxnSpLocks/>
          </p:cNvCxnSpPr>
          <p:nvPr/>
        </p:nvCxnSpPr>
        <p:spPr>
          <a:xfrm>
            <a:off x="2950409" y="1911350"/>
            <a:ext cx="0" cy="4371975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7FDBD2A-F640-AB1E-FAA1-5BFE484DEB81}"/>
              </a:ext>
            </a:extLst>
          </p:cNvPr>
          <p:cNvCxnSpPr>
            <a:cxnSpLocks/>
          </p:cNvCxnSpPr>
          <p:nvPr/>
        </p:nvCxnSpPr>
        <p:spPr>
          <a:xfrm>
            <a:off x="5676132" y="1911350"/>
            <a:ext cx="0" cy="4371975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>
            <a:extLst>
              <a:ext uri="{FF2B5EF4-FFF2-40B4-BE49-F238E27FC236}">
                <a16:creationId xmlns:a16="http://schemas.microsoft.com/office/drawing/2014/main" id="{E6DE1BF4-03D0-A369-C761-4F1DA82757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41056" y="1338116"/>
            <a:ext cx="2767916" cy="4701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8062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99BFEB-62F2-425A-A7A9-8411C5972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Ατζέντα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F91D67-9E9A-47C3-A2DD-B2B75FB0456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Υπόβαθρο και VP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004906-0AAE-4CB6-B00B-400B891D77F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68167" y="2269466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/>
              <a:t>Το νέο VP700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542A51-367A-4167-9752-5079572B4A1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68167" y="3152281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/>
              <a:t>Κυριότερα σημεία πώλησης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7B1944-3895-4DE5-AE50-969FBC4D89E9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4050148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/>
              <a:t>Άλλο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ADBC23D-47E9-4120-A6D7-24FD29D2076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pPr rtl="0"/>
            <a:r>
              <a:rPr lang="el" b="1" i="0" u="none" baseline="0"/>
              <a:t>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4371355-1C45-4851-8D01-7A92B44BE74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17600" y="2269466"/>
            <a:ext cx="698400" cy="698238"/>
          </a:xfrm>
        </p:spPr>
        <p:txBody>
          <a:bodyPr/>
          <a:lstStyle/>
          <a:p>
            <a:pPr rtl="0"/>
            <a:r>
              <a:rPr lang="en-US" dirty="0"/>
              <a:t>2</a:t>
            </a:r>
            <a:endParaRPr lang="el" b="1" i="0" u="none" baseline="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EEBA80C-DEE5-48A1-A470-3A42CC23CC9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117600" y="3152281"/>
            <a:ext cx="698400" cy="698238"/>
          </a:xfrm>
        </p:spPr>
        <p:txBody>
          <a:bodyPr/>
          <a:lstStyle/>
          <a:p>
            <a:pPr rtl="0"/>
            <a:r>
              <a:rPr lang="en-US" dirty="0"/>
              <a:t>3</a:t>
            </a:r>
            <a:endParaRPr lang="el" b="1" i="0" u="none" baseline="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7ECDD9B-83F9-4C79-A91C-A8CE741C51C9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117600" y="4050148"/>
            <a:ext cx="698400" cy="698238"/>
          </a:xfrm>
        </p:spPr>
        <p:txBody>
          <a:bodyPr/>
          <a:lstStyle/>
          <a:p>
            <a:pPr rtl="0"/>
            <a:r>
              <a:rPr lang="en-US" dirty="0"/>
              <a:t>4</a:t>
            </a:r>
            <a:endParaRPr lang="el" b="1" i="0" u="none" baseline="0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82D0A69-9424-4096-A574-39DAF3E6BD2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1B1E747-E18D-4ED9-8DBE-5AB389BF2EB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</a:t>
            </a:fld>
            <a:endParaRPr lang="el" noProof="0"/>
          </a:p>
        </p:txBody>
      </p:sp>
      <p:pic>
        <p:nvPicPr>
          <p:cNvPr id="23" name="Picture Placeholder 22">
            <a:extLst>
              <a:ext uri="{FF2B5EF4-FFF2-40B4-BE49-F238E27FC236}">
                <a16:creationId xmlns:a16="http://schemas.microsoft.com/office/drawing/2014/main" id="{0AF75009-C3E7-BB3D-8FFA-86E9BC705BAF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9718" y="0"/>
            <a:ext cx="5262281" cy="6273800"/>
          </a:xfrm>
        </p:spPr>
      </p:pic>
    </p:spTree>
    <p:extLst>
      <p:ext uri="{BB962C8B-B14F-4D97-AF65-F5344CB8AC3E}">
        <p14:creationId xmlns:p14="http://schemas.microsoft.com/office/powerpoint/2010/main" val="1708403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BF85EE-6EE1-FE15-F43C-9308C1821BE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147539-8C9A-EF43-48A1-2E854416AD9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0</a:t>
            </a:fld>
            <a:endParaRPr lang="el" noProof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8511E8A-F92A-6517-B654-032A5F6CCB45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el" b="0" i="0" u="none" baseline="0">
                <a:solidFill>
                  <a:srgbClr val="28313F"/>
                </a:solidFill>
                <a:latin typeface="Roboto Bold"/>
                <a:ea typeface="Roboto Bold"/>
                <a:cs typeface="Roboto Bold"/>
              </a:rPr>
              <a:t>Πόρτα κύριου φίλτρου με εύκολη πρόσβαση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229AC85-5CBF-16DB-41F1-A499AE2D74B7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el" b="0" i="0" u="none" baseline="0">
                <a:latin typeface="+mj-lt"/>
                <a:ea typeface="+mj-lt"/>
                <a:cs typeface="+mj-lt"/>
              </a:rPr>
              <a:t>Διαθεσιμότητα και ανθεκτικότητα σε νέα επίπεδα </a:t>
            </a:r>
          </a:p>
          <a:p>
            <a:pPr algn="l" rtl="0"/>
            <a:r>
              <a:rPr lang="el" sz="1200" b="0" i="0" u="none" baseline="0"/>
              <a:t>Επιθεώρηση και έλεγχος φίλτρου και καλωδίου χωρίς εργαλεία </a:t>
            </a:r>
            <a:r>
              <a:rPr lang="el" sz="1200" b="0" i="0" u="none" baseline="0">
                <a:sym typeface="Wingdings" panose="05000000000000000000" pitchFamily="2" charset="2"/>
              </a:rPr>
              <a:t> ε</a:t>
            </a:r>
            <a:r>
              <a:rPr lang="el" sz="1200" b="0" i="0" u="none" baseline="0"/>
              <a:t>ύκολη καθημερινή συντήρηση και σέρβις</a:t>
            </a:r>
          </a:p>
          <a:p>
            <a:pPr algn="l" rtl="0"/>
            <a:r>
              <a:rPr lang="el" sz="1200" b="0" i="0" u="none" baseline="0"/>
              <a:t>Οδηγός/ανακούφιση καλωδίου και στρογγυλεμένη έξοδος</a:t>
            </a:r>
            <a:r>
              <a:rPr lang="el" sz="1000" b="0" i="0" u="none" baseline="0"/>
              <a:t> </a:t>
            </a:r>
            <a:r>
              <a:rPr lang="el" sz="1000" b="0" i="1" u="none" baseline="0"/>
              <a:t>(αύξηση αντοχής/διαθεσιμότητας/εξοικονόμηση χρημάτων)</a:t>
            </a:r>
            <a:endParaRPr lang="el" sz="1000" noProof="0"/>
          </a:p>
          <a:p>
            <a:pPr algn="l" rtl="0"/>
            <a:r>
              <a:rPr lang="el" sz="1200" b="0" i="0" u="none" baseline="0"/>
              <a:t>Ενσωματωμένος οδηγός/εικονίδια στο επάνω κάλυμμα (θέση πόρτας σέρβις/φίλτρου)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97F00AD-F90C-1D92-26EB-6FE0AEFDB0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πάνω μέρος του μηχανήματος | Πρόσβαση στο φίλτρο HEPA και στην περιοχή ανακούφισης-οδηγού καλωδίου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1E3FAF3-5376-841A-639E-E0CEE080C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dirty="0"/>
              <a:t>3</a:t>
            </a:r>
            <a:r>
              <a:rPr lang="el" b="1" i="0" u="none" baseline="0" dirty="0"/>
              <a:t> | Χαρακτηριστικά του VP700</a:t>
            </a:r>
          </a:p>
        </p:txBody>
      </p:sp>
      <p:pic>
        <p:nvPicPr>
          <p:cNvPr id="12" name="Picture 11" descr="A close up of a device&#10;&#10;AI-generated content may be incorrect.">
            <a:extLst>
              <a:ext uri="{FF2B5EF4-FFF2-40B4-BE49-F238E27FC236}">
                <a16:creationId xmlns:a16="http://schemas.microsoft.com/office/drawing/2014/main" id="{9F43CE7A-CA26-CA84-2413-FCE0A7522AB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377" y="2519778"/>
            <a:ext cx="5776016" cy="3611514"/>
          </a:xfrm>
          <a:prstGeom prst="rect">
            <a:avLst/>
          </a:prstGeom>
        </p:spPr>
      </p:pic>
      <p:sp>
        <p:nvSpPr>
          <p:cNvPr id="13" name="Arc 12">
            <a:extLst>
              <a:ext uri="{FF2B5EF4-FFF2-40B4-BE49-F238E27FC236}">
                <a16:creationId xmlns:a16="http://schemas.microsoft.com/office/drawing/2014/main" id="{4E91FF0F-DC31-75AF-C2B3-09DE7758E214}"/>
              </a:ext>
            </a:extLst>
          </p:cNvPr>
          <p:cNvSpPr/>
          <p:nvPr/>
        </p:nvSpPr>
        <p:spPr>
          <a:xfrm flipV="1">
            <a:off x="2190750" y="446135"/>
            <a:ext cx="2838450" cy="3611513"/>
          </a:xfrm>
          <a:prstGeom prst="arc">
            <a:avLst>
              <a:gd name="adj1" fmla="val 10925491"/>
              <a:gd name="adj2" fmla="val 15678458"/>
            </a:avLst>
          </a:prstGeom>
          <a:ln w="19050">
            <a:solidFill>
              <a:schemeClr val="accent3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l" noProof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550A014-E7D4-5978-D20E-E3FE71743A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7393" y="2501760"/>
            <a:ext cx="5715798" cy="3629532"/>
          </a:xfrm>
          <a:prstGeom prst="rect">
            <a:avLst/>
          </a:prstGeom>
        </p:spPr>
      </p:pic>
      <p:sp>
        <p:nvSpPr>
          <p:cNvPr id="15" name="Arc 14">
            <a:extLst>
              <a:ext uri="{FF2B5EF4-FFF2-40B4-BE49-F238E27FC236}">
                <a16:creationId xmlns:a16="http://schemas.microsoft.com/office/drawing/2014/main" id="{E53C1B77-170E-9589-E622-798E687E707B}"/>
              </a:ext>
            </a:extLst>
          </p:cNvPr>
          <p:cNvSpPr/>
          <p:nvPr/>
        </p:nvSpPr>
        <p:spPr>
          <a:xfrm flipV="1">
            <a:off x="7296727" y="1385455"/>
            <a:ext cx="1923075" cy="2851836"/>
          </a:xfrm>
          <a:prstGeom prst="arc">
            <a:avLst>
              <a:gd name="adj1" fmla="val 10925491"/>
              <a:gd name="adj2" fmla="val 15678458"/>
            </a:avLst>
          </a:prstGeom>
          <a:ln w="19050">
            <a:solidFill>
              <a:schemeClr val="accent3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l" noProof="0"/>
          </a:p>
        </p:txBody>
      </p:sp>
    </p:spTree>
    <p:extLst>
      <p:ext uri="{BB962C8B-B14F-4D97-AF65-F5344CB8AC3E}">
        <p14:creationId xmlns:p14="http://schemas.microsoft.com/office/powerpoint/2010/main" val="53313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231A278-0735-64B3-384C-7A7A8B0F7B0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7230658-A5E7-AA12-3D2D-18E79D884FC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1</a:t>
            </a:fld>
            <a:endParaRPr lang="el" noProof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822D55-075C-62E3-3683-C3F878C0A8C1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 numCol="1"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" sz="14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Basic		</a:t>
            </a:r>
            <a:r>
              <a:rPr lang="el" b="0" i="0" u="none" baseline="0">
                <a:solidFill>
                  <a:srgbClr val="28313F"/>
                </a:solidFill>
                <a:latin typeface="Roboto Bold"/>
                <a:ea typeface="Roboto Bold"/>
                <a:cs typeface="Roboto Bold"/>
              </a:rPr>
              <a:t>	</a:t>
            </a:r>
            <a:r>
              <a:rPr kumimoji="0" lang="el" sz="14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Premium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E865CC0-4BC8-6579-AB80-C2C166C7891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C6AB22-1A98-4029-7C5D-1DE61EFFC6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Βελτιωμένα λυγισμένα άκρα, εργονομία, κράτημα και ανθεκτικότητα | Συνδέσεις εύκαμπτων σωλήνων φιλικές προς τον χρήστη και το σέρβις 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C979E42-EB5C-E448-F521-EA03F4CB0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dirty="0"/>
              <a:t>3</a:t>
            </a:r>
            <a:r>
              <a:rPr lang="el" b="1" i="0" u="none" baseline="0" dirty="0"/>
              <a:t> | Χαρακτηριστικά του VP700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487737-5637-FE54-921C-128A3AB3D7E7}"/>
              </a:ext>
            </a:extLst>
          </p:cNvPr>
          <p:cNvSpPr txBox="1"/>
          <p:nvPr/>
        </p:nvSpPr>
        <p:spPr>
          <a:xfrm>
            <a:off x="830040" y="5761567"/>
            <a:ext cx="4752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l" sz="800" b="0" i="1" u="none" baseline="0"/>
              <a:t>* Μόνο η έκδοση Premium. Διατίθεται ως στάνταρ σε επιλεγμένα μοντέλα και ως after sales</a:t>
            </a:r>
          </a:p>
        </p:txBody>
      </p:sp>
      <p:graphicFrame>
        <p:nvGraphicFramePr>
          <p:cNvPr id="9" name="Table 3">
            <a:extLst>
              <a:ext uri="{FF2B5EF4-FFF2-40B4-BE49-F238E27FC236}">
                <a16:creationId xmlns:a16="http://schemas.microsoft.com/office/drawing/2014/main" id="{153FC177-3532-8BE2-E678-26C579A53A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9023832"/>
              </p:ext>
            </p:extLst>
          </p:nvPr>
        </p:nvGraphicFramePr>
        <p:xfrm>
          <a:off x="830040" y="3901573"/>
          <a:ext cx="4752000" cy="2019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2000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8750816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55238769"/>
                    </a:ext>
                  </a:extLst>
                </a:gridCol>
              </a:tblGrid>
              <a:tr h="108885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Χαρακτηριστικό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Παλιό λυγισμένο άκρο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Νέα λυγισμένα άκρα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108885">
                <a:tc>
                  <a:txBody>
                    <a:bodyPr/>
                    <a:lstStyle/>
                    <a:p>
                      <a:pPr algn="l" rtl="0"/>
                      <a:r>
                        <a:rPr lang="el" sz="8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Ολισθητήρας ελέγχου αναρρόφησης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8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8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108885">
                <a:tc>
                  <a:txBody>
                    <a:bodyPr/>
                    <a:lstStyle/>
                    <a:p>
                      <a:pPr algn="l" rtl="0"/>
                      <a:r>
                        <a:rPr lang="el" sz="8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Μικρό βάρος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8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8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100123">
                <a:tc>
                  <a:txBody>
                    <a:bodyPr/>
                    <a:lstStyle/>
                    <a:p>
                      <a:pPr algn="l" rtl="0"/>
                      <a:r>
                        <a:rPr lang="el" sz="8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Σχεδίαση εργονομικής γωνίας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l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8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100123">
                <a:tc>
                  <a:txBody>
                    <a:bodyPr/>
                    <a:lstStyle/>
                    <a:p>
                      <a:pPr algn="l" rtl="0"/>
                      <a:endParaRPr lang="el" sz="800" noProof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l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800" noProof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3704636"/>
                  </a:ext>
                </a:extLst>
              </a:tr>
              <a:tr h="108885">
                <a:tc>
                  <a:txBody>
                    <a:bodyPr/>
                    <a:lstStyle/>
                    <a:p>
                      <a:pPr algn="l" rtl="0"/>
                      <a:r>
                        <a:rPr lang="el" sz="8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Μειωμένος κίνδυνος εμπλοκής (ομαλή καμπύλη)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l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8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168444"/>
                  </a:ext>
                </a:extLst>
              </a:tr>
              <a:tr h="108885">
                <a:tc>
                  <a:txBody>
                    <a:bodyPr/>
                    <a:lstStyle/>
                    <a:p>
                      <a:pPr algn="l" rtl="0"/>
                      <a:r>
                        <a:rPr lang="el" sz="8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Περαιτέρω προστατευμένη ρύθμιση αναρρόφησης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l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8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646940"/>
                  </a:ext>
                </a:extLst>
              </a:tr>
              <a:tr h="108885">
                <a:tc>
                  <a:txBody>
                    <a:bodyPr/>
                    <a:lstStyle/>
                    <a:p>
                      <a:pPr algn="l" rtl="0"/>
                      <a:r>
                        <a:rPr lang="el" sz="8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Εύκολη αντικατάσταση του εύκαμπτου σωλήνα (σύνδεση με κλικ)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l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8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8645019"/>
                  </a:ext>
                </a:extLst>
              </a:tr>
              <a:tr h="108885">
                <a:tc>
                  <a:txBody>
                    <a:bodyPr/>
                    <a:lstStyle/>
                    <a:p>
                      <a:pPr algn="l" rtl="0"/>
                      <a:r>
                        <a:rPr lang="el" sz="8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Επισημασμένη UI + υφή κρατήματος 2K*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l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8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304156"/>
                  </a:ext>
                </a:extLst>
              </a:tr>
            </a:tbl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BAA5DBFB-1884-5B57-F669-D363680347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6617" y="2190027"/>
            <a:ext cx="2626036" cy="147714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5E27541-7454-2931-A7C6-39C4563E002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4188" y="2197171"/>
            <a:ext cx="2617667" cy="1472438"/>
          </a:xfrm>
          <a:prstGeom prst="rect">
            <a:avLst/>
          </a:prstGeom>
        </p:spPr>
      </p:pic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C9DB4A7-B5D8-2808-194A-037A3383398A}"/>
              </a:ext>
            </a:extLst>
          </p:cNvPr>
          <p:cNvSpPr txBox="1">
            <a:spLocks/>
          </p:cNvSpPr>
          <p:nvPr/>
        </p:nvSpPr>
        <p:spPr>
          <a:xfrm>
            <a:off x="7943298" y="3284066"/>
            <a:ext cx="2115102" cy="5539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</a:pPr>
            <a:r>
              <a:rPr lang="el" sz="1200" b="0" i="0" u="none" baseline="0"/>
              <a:t>Βελτιστοποιημένες στεγανοποιήσεις και σύνδεση εύκαμπτου σωλήνα </a:t>
            </a:r>
            <a:br>
              <a:rPr lang="el" sz="1200"/>
            </a:br>
            <a:r>
              <a:rPr lang="el" sz="1200" b="0" i="0" u="none" baseline="0">
                <a:sym typeface="Wingdings" panose="05000000000000000000" pitchFamily="2" charset="2"/>
              </a:rPr>
              <a:t></a:t>
            </a:r>
            <a:r>
              <a:rPr lang="el" sz="1200" b="0" i="0" u="none" baseline="0"/>
              <a:t> βελτιωμένη απόδοση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C596E75-9056-5928-DBF5-13586F5B0BE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167"/>
          <a:stretch/>
        </p:blipFill>
        <p:spPr>
          <a:xfrm>
            <a:off x="6249026" y="4044958"/>
            <a:ext cx="3594572" cy="202194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B15CF65-AA5C-7629-9232-858D244F7BC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2691" y="1777044"/>
            <a:ext cx="2187932" cy="1484668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0F85F0C6-29CE-2A25-26F3-AA7E8A0EB05C}"/>
              </a:ext>
            </a:extLst>
          </p:cNvPr>
          <p:cNvCxnSpPr>
            <a:cxnSpLocks/>
          </p:cNvCxnSpPr>
          <p:nvPr/>
        </p:nvCxnSpPr>
        <p:spPr>
          <a:xfrm>
            <a:off x="6515981" y="2417262"/>
            <a:ext cx="4064165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73E88296-BE7E-298F-A254-FB522E1E5850}"/>
              </a:ext>
            </a:extLst>
          </p:cNvPr>
          <p:cNvSpPr txBox="1"/>
          <p:nvPr/>
        </p:nvSpPr>
        <p:spPr>
          <a:xfrm>
            <a:off x="9793854" y="4531984"/>
            <a:ext cx="1610201" cy="663053"/>
          </a:xfrm>
          <a:prstGeom prst="rect">
            <a:avLst/>
          </a:prstGeom>
          <a:noFill/>
        </p:spPr>
        <p:txBody>
          <a:bodyPr wrap="square" lIns="0" tIns="0" rIns="0" bIns="108000" rtlCol="0" anchor="b" anchorCtr="0">
            <a:spAutoFit/>
          </a:bodyPr>
          <a:lstStyle/>
          <a:p>
            <a:pPr algn="l" rtl="0"/>
            <a:r>
              <a:rPr lang="el" sz="1200" b="0" i="0" u="none" baseline="0"/>
              <a:t>«Σημείο πίεσης» στραμμένο προς τα επάνω για βέλτιστη εγκατάσταση στην είσοδο του μηχανήματος</a:t>
            </a:r>
          </a:p>
        </p:txBody>
      </p:sp>
      <p:cxnSp>
        <p:nvCxnSpPr>
          <p:cNvPr id="17" name="Straight Arrow Connector 38">
            <a:extLst>
              <a:ext uri="{FF2B5EF4-FFF2-40B4-BE49-F238E27FC236}">
                <a16:creationId xmlns:a16="http://schemas.microsoft.com/office/drawing/2014/main" id="{665B0557-CE14-AAE8-8DA5-08E3267214E0}"/>
              </a:ext>
            </a:extLst>
          </p:cNvPr>
          <p:cNvCxnSpPr>
            <a:cxnSpLocks/>
          </p:cNvCxnSpPr>
          <p:nvPr/>
        </p:nvCxnSpPr>
        <p:spPr>
          <a:xfrm flipV="1">
            <a:off x="8091324" y="4479636"/>
            <a:ext cx="3262987" cy="222654"/>
          </a:xfrm>
          <a:prstGeom prst="bentConnector3">
            <a:avLst>
              <a:gd name="adj1" fmla="val 50000"/>
            </a:avLst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F49DAC85-C739-AF3E-A122-7540ADC74325}"/>
              </a:ext>
            </a:extLst>
          </p:cNvPr>
          <p:cNvSpPr txBox="1">
            <a:spLocks/>
          </p:cNvSpPr>
          <p:nvPr/>
        </p:nvSpPr>
        <p:spPr>
          <a:xfrm>
            <a:off x="6515981" y="1875857"/>
            <a:ext cx="2854633" cy="5539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l" rtl="0">
              <a:buNone/>
              <a:defRPr/>
            </a:pPr>
            <a:r>
              <a:rPr lang="el" sz="1200" b="0" i="0" u="none" baseline="0">
                <a:solidFill>
                  <a:srgbClr val="28313F"/>
                </a:solidFill>
              </a:rPr>
              <a:t>Εάν ο εύκαμπτος σωλήνας πρέπει να αντικατασταθεί - εύκολη </a:t>
            </a:r>
            <a:br>
              <a:rPr lang="el" sz="1200">
                <a:solidFill>
                  <a:srgbClr val="28313F"/>
                </a:solidFill>
              </a:rPr>
            </a:br>
            <a:r>
              <a:rPr lang="el" sz="1200" b="0" i="0" u="none" baseline="0">
                <a:solidFill>
                  <a:srgbClr val="28313F"/>
                </a:solidFill>
              </a:rPr>
              <a:t>εναλλαγή με ένα σύστημα γρήγορου κλικ (δεν απαιτούνται εργαλεία)</a:t>
            </a:r>
          </a:p>
        </p:txBody>
      </p:sp>
    </p:spTree>
    <p:extLst>
      <p:ext uri="{BB962C8B-B14F-4D97-AF65-F5344CB8AC3E}">
        <p14:creationId xmlns:p14="http://schemas.microsoft.com/office/powerpoint/2010/main" val="228179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24197D-4741-5408-E476-11B1598694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EE68E8-C83C-FF90-AA5A-B53AD7800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Ατζέντα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54EA77-C9C5-35C0-5761-BE1A1EB7EF6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Υπόβαθρο και VP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4434B7-6D94-E40F-8C32-380153115AE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68167" y="2320475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Το νέο VP700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3BCC5C-D989-4DF9-713D-2591D36C58F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68167" y="3162194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Κυριότερα σημεία πώλησης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29FC6A7-981A-F1C1-B996-0209F52859A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4147393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/>
              <a:t>Άλλο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B0564F-5A7E-4DAE-E6E3-31D930A0C61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l" b="1" i="0" u="none" baseline="0"/>
              <a:t>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262104-A00B-B5D6-AF78-12DE3CDB4B2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17600" y="232047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n-US" dirty="0"/>
              <a:t>2</a:t>
            </a:r>
            <a:endParaRPr lang="el" b="1" i="0" u="none" baseline="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0878467-6588-0E58-1B75-EBA89BED4648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117600" y="3162194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n-US" dirty="0"/>
              <a:t>3</a:t>
            </a:r>
            <a:endParaRPr lang="el" b="1" i="0" u="none" baseline="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29D2238-2372-A7F8-9C1F-F0D7B7AA655B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117600" y="4147393"/>
            <a:ext cx="698400" cy="698238"/>
          </a:xfr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n-US" dirty="0"/>
              <a:t>4</a:t>
            </a:r>
            <a:endParaRPr lang="el" b="1" i="0" u="none" baseline="0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AA181679-3763-25C9-CB43-CE33EAA1EFB8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84D1153-9150-1689-0752-F880BD208C5E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2</a:t>
            </a:fld>
            <a:endParaRPr lang="el" noProof="0"/>
          </a:p>
        </p:txBody>
      </p:sp>
      <p:pic>
        <p:nvPicPr>
          <p:cNvPr id="23" name="Picture Placeholder 22">
            <a:extLst>
              <a:ext uri="{FF2B5EF4-FFF2-40B4-BE49-F238E27FC236}">
                <a16:creationId xmlns:a16="http://schemas.microsoft.com/office/drawing/2014/main" id="{8701DEA5-C882-C879-76EE-4A3069CA9D1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9718" y="0"/>
            <a:ext cx="5262281" cy="6273800"/>
          </a:xfrm>
        </p:spPr>
      </p:pic>
    </p:spTree>
    <p:extLst>
      <p:ext uri="{BB962C8B-B14F-4D97-AF65-F5344CB8AC3E}">
        <p14:creationId xmlns:p14="http://schemas.microsoft.com/office/powerpoint/2010/main" val="2130534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C8A1B53-6CF1-92C8-F8DC-91D85415292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4429F98-6241-DDBF-56B3-239B46100F2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3</a:t>
            </a:fld>
            <a:endParaRPr lang="el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46E43A-783F-95D2-3FEA-1E4847CA1A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Νέα βελτιωμένη σχεδίαση κουτιού μηχανήματος | Καλύτερη παρουσία στους εκθεσιακούς χώρους/αντιπροσώπους και γρήγορη προβολή των KSP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EC01858-7FB2-4180-1294-279E0ABE3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dirty="0"/>
              <a:t>4</a:t>
            </a:r>
            <a:r>
              <a:rPr lang="el" b="1" i="0" u="none" baseline="0" dirty="0"/>
              <a:t> | Συσκευασία</a:t>
            </a:r>
          </a:p>
        </p:txBody>
      </p:sp>
      <p:pic>
        <p:nvPicPr>
          <p:cNvPr id="8" name="Picture 7" descr="A brown box with white text&#10;&#10;AI-generated content may be incorrect.">
            <a:extLst>
              <a:ext uri="{FF2B5EF4-FFF2-40B4-BE49-F238E27FC236}">
                <a16:creationId xmlns:a16="http://schemas.microsoft.com/office/drawing/2014/main" id="{25311FE3-F23B-CC0A-6EDC-8E9A8A38EA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1671" y="1410543"/>
            <a:ext cx="5713406" cy="5195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388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183C1B7-E30A-368A-F080-4B3ACEDB3759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el" b="0" i="0" u="none" baseline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2E0E6C-DF90-26C0-A390-501D113812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5349003"/>
            <a:ext cx="2586038" cy="775354"/>
          </a:xfrm>
        </p:spPr>
        <p:txBody>
          <a:bodyPr/>
          <a:lstStyle/>
          <a:p>
            <a:pPr algn="ctr" rtl="0"/>
            <a:r>
              <a:rPr lang="el" b="1" i="0" u="none" baseline="0"/>
              <a:t>VP300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0358EA-CAA2-BC8B-C70D-3CC6B0B9F394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el" b="0" i="0" u="none" baseline="0"/>
              <a:t>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C2DAFE-4462-0DAD-57A0-867BCDAB86F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1795" y="5349003"/>
            <a:ext cx="2586038" cy="775354"/>
          </a:xfrm>
        </p:spPr>
        <p:txBody>
          <a:bodyPr/>
          <a:lstStyle/>
          <a:p>
            <a:pPr algn="ctr" rtl="0"/>
            <a:r>
              <a:rPr lang="el" b="1" i="0" u="none" baseline="0"/>
              <a:t>VP400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C66C9DC-DF9B-FA28-35E5-27E97129FAC6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el" b="0" i="0" u="none" baseline="0"/>
              <a:t>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F9CB5E9-5C6B-7CB6-AE0C-DC579C7F6C2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4166" y="5349003"/>
            <a:ext cx="2586038" cy="775354"/>
          </a:xfrm>
        </p:spPr>
        <p:txBody>
          <a:bodyPr/>
          <a:lstStyle/>
          <a:p>
            <a:pPr algn="ctr" rtl="0"/>
            <a:r>
              <a:rPr lang="el" b="1" i="0" u="none" baseline="0"/>
              <a:t>VP500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A82C576-0241-EE3E-1FBE-FDC7CBB82D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</p:spPr>
        <p:txBody>
          <a:bodyPr/>
          <a:lstStyle/>
          <a:p>
            <a:pPr marL="0" indent="0" algn="l" rtl="0">
              <a:buNone/>
            </a:pPr>
            <a:r>
              <a:rPr lang="el" b="0" i="0" u="none" baseline="0"/>
              <a:t>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54D60FC-A863-8625-FB5C-41253CB1CEB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26537" y="5349003"/>
            <a:ext cx="2586038" cy="775354"/>
          </a:xfrm>
        </p:spPr>
        <p:txBody>
          <a:bodyPr/>
          <a:lstStyle/>
          <a:p>
            <a:pPr algn="ctr" rtl="0"/>
            <a:r>
              <a:rPr lang="el" b="1" i="0" u="none" baseline="0"/>
              <a:t>VP700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0499EB5-5A9B-ECD8-5C80-98DC033B8E6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6958BD5-A13A-A0AD-F08D-158FABB65EF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4</a:t>
            </a:fld>
            <a:endParaRPr lang="el" noProof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2F6A41-06E8-1DB9-5ACB-316869390D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Οικογένεια κόμπακτ Nilfisk με δοχείο στερεών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D9276559-BE8B-24FD-21B1-F35B453B5D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dirty="0"/>
              <a:t>4</a:t>
            </a:r>
            <a:r>
              <a:rPr lang="el" b="1" i="0" u="none" baseline="0" dirty="0"/>
              <a:t> | Σειρά επαγγελματικών VAC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F70704E-BEBB-DA13-0D52-68A896BEF1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2375" y="2139487"/>
            <a:ext cx="2407829" cy="333586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4400BD4-F7BD-E326-6A05-290163764E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092" y="1907429"/>
            <a:ext cx="1907140" cy="356369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8C36E24-7BDF-D94E-457F-3B51273F03A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5972" y="2119275"/>
            <a:ext cx="2217684" cy="3335867"/>
          </a:xfrm>
          <a:prstGeom prst="rect">
            <a:avLst/>
          </a:prstGeom>
        </p:spPr>
      </p:pic>
      <p:pic>
        <p:nvPicPr>
          <p:cNvPr id="14" name="Billede 13" descr="Et billede, der indeholder apparat, støvsuger&#10;&#10;AI-genereret indhold kan være ukorrekt.">
            <a:extLst>
              <a:ext uri="{FF2B5EF4-FFF2-40B4-BE49-F238E27FC236}">
                <a16:creationId xmlns:a16="http://schemas.microsoft.com/office/drawing/2014/main" id="{11C42039-8FA9-2409-68E1-A6D60D9B7DC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9646" y="1805836"/>
            <a:ext cx="2286105" cy="3768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433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462D33-2D02-3F19-744F-DD48C4D919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510C155-DC61-9133-ECF3-0DB3BC15DC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10C155-DC61-9133-ECF3-0DB3BC15DC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egnaposto testo 13">
            <a:extLst>
              <a:ext uri="{FF2B5EF4-FFF2-40B4-BE49-F238E27FC236}">
                <a16:creationId xmlns:a16="http://schemas.microsoft.com/office/drawing/2014/main" id="{BE35A547-AE01-3C89-3B36-E8ACC9B507B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605963" y="1763713"/>
            <a:ext cx="2586037" cy="776287"/>
          </a:xfrm>
        </p:spPr>
        <p:txBody>
          <a:bodyPr/>
          <a:lstStyle/>
          <a:p>
            <a:pPr algn="l" rtl="0"/>
            <a:r>
              <a:rPr lang="el" b="0" i="0" u="none" baseline="0"/>
              <a:t>Nilfisk προς αντιπροσώπους</a:t>
            </a:r>
          </a:p>
        </p:txBody>
      </p:sp>
      <p:sp>
        <p:nvSpPr>
          <p:cNvPr id="16" name="Segnaposto testo 15">
            <a:extLst>
              <a:ext uri="{FF2B5EF4-FFF2-40B4-BE49-F238E27FC236}">
                <a16:creationId xmlns:a16="http://schemas.microsoft.com/office/drawing/2014/main" id="{6B28E8AF-58A5-55F7-490D-D9F0ED032BE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605963" y="1797050"/>
            <a:ext cx="2586037" cy="774700"/>
          </a:xfrm>
        </p:spPr>
        <p:txBody>
          <a:bodyPr/>
          <a:lstStyle/>
          <a:p>
            <a:pPr algn="l" rtl="0"/>
            <a:r>
              <a:rPr lang="el" b="0" i="0" u="none" baseline="0"/>
              <a:t>Πακέτο για αντιπροσώπους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48BD0A1D-F244-3BDA-A756-B6BF70FF9F68}"/>
              </a:ext>
            </a:extLst>
          </p:cNvPr>
          <p:cNvSpPr txBox="1"/>
          <p:nvPr/>
        </p:nvSpPr>
        <p:spPr>
          <a:xfrm>
            <a:off x="6738151" y="3429000"/>
            <a:ext cx="1633492" cy="23747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198755" indent="0" algn="l" rtl="0">
              <a:lnSpc>
                <a:spcPct val="200000"/>
              </a:lnSpc>
              <a:spcBef>
                <a:spcPts val="0"/>
              </a:spcBef>
              <a:buNone/>
            </a:pPr>
            <a:endParaRPr lang="el" sz="1600" b="1" noProof="0">
              <a:latin typeface="+mj-lt"/>
              <a:ea typeface="Roboto Ligh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116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E838F6-E1D6-388F-4FDF-84D5558CA6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03914B-0523-6BCC-7C93-EF6A533C7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Ατζέντα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C270AB-175C-EE18-7079-A355ACF2292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Υπόβαθρο και VP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11C48DA-AC83-E3F2-EC00-94B018E99B31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68167" y="2365921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Το νέο VP700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DDBD3F8-FBB0-E74C-45EE-7A5018AD500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68167" y="3207640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Κυριότερα σημεία πώλησης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DD07E49-9ABC-6C59-3286-D4FC2A371987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4170116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Άλλο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D269DC0-C388-E050-859D-FDE3E2BCE36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pPr rtl="0"/>
            <a:r>
              <a:rPr lang="el" b="1" i="0" u="none" baseline="0"/>
              <a:t>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E1273E9-88D5-410B-EF71-111DAFA73DC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17600" y="2365921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n-US" b="1" i="0" u="none" baseline="0" dirty="0"/>
              <a:t>2</a:t>
            </a:r>
            <a:endParaRPr lang="el" b="1" i="0" u="none" baseline="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E384A9E-6A5E-A0B3-240F-7C34D6F00D89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117600" y="3207640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n-US" dirty="0"/>
              <a:t>3</a:t>
            </a:r>
            <a:endParaRPr lang="el" b="1" i="0" u="none" baseline="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3FB9471-843E-0AD9-0858-FD49B551226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117600" y="4170116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n-US" dirty="0"/>
              <a:t>4</a:t>
            </a:r>
            <a:endParaRPr lang="el" b="1" i="0" u="none" baseline="0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1BE62D29-E0B1-545E-6406-4D54793209FE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8D28CB72-406D-8744-9382-2E5CCC7FC87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</a:t>
            </a:fld>
            <a:endParaRPr lang="el" noProof="0"/>
          </a:p>
        </p:txBody>
      </p:sp>
      <p:pic>
        <p:nvPicPr>
          <p:cNvPr id="23" name="Picture Placeholder 22">
            <a:extLst>
              <a:ext uri="{FF2B5EF4-FFF2-40B4-BE49-F238E27FC236}">
                <a16:creationId xmlns:a16="http://schemas.microsoft.com/office/drawing/2014/main" id="{67CB0932-CB2A-8485-7775-B636CD8E1CF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929718" y="0"/>
            <a:ext cx="5262281" cy="6273800"/>
          </a:xfrm>
        </p:spPr>
      </p:pic>
    </p:spTree>
    <p:extLst>
      <p:ext uri="{BB962C8B-B14F-4D97-AF65-F5344CB8AC3E}">
        <p14:creationId xmlns:p14="http://schemas.microsoft.com/office/powerpoint/2010/main" val="2625328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Placeholder 24">
            <a:extLst>
              <a:ext uri="{FF2B5EF4-FFF2-40B4-BE49-F238E27FC236}">
                <a16:creationId xmlns:a16="http://schemas.microsoft.com/office/drawing/2014/main" id="{51AC410F-799B-6B08-7BFF-5978A51EAB14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F4F47E4-848B-AA45-AF35-5123A7CB91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113673"/>
            <a:ext cx="5264150" cy="4732323"/>
          </a:xfrm>
        </p:spPr>
        <p:txBody>
          <a:bodyPr/>
          <a:lstStyle/>
          <a:p>
            <a:pPr marL="0" indent="0" algn="l" rtl="0">
              <a:buNone/>
            </a:pPr>
            <a:r>
              <a:rPr lang="el" b="0" i="0" u="none" baseline="0" dirty="0"/>
              <a:t>Ολοκληρώνοντας το δεύτερο κύμα της ανανέωσης του χαρτοφυλακίου με επαγγελματικές απορροφητικές σκούπες με δοχείο στερεών και ακολουθώντας την οπτική εξοικείωση με τη σειρά VP300, παρουσιάζουμε τώρα το νέο </a:t>
            </a:r>
            <a:r>
              <a:rPr lang="el" b="0" i="0" u="none" baseline="0" dirty="0">
                <a:latin typeface="+mj-lt"/>
                <a:ea typeface="+mj-lt"/>
                <a:cs typeface="+mj-lt"/>
              </a:rPr>
              <a:t>Nilfisk VP700</a:t>
            </a:r>
            <a:r>
              <a:rPr lang="el" b="0" i="0" u="none" baseline="0" dirty="0"/>
              <a:t>.</a:t>
            </a:r>
          </a:p>
          <a:p>
            <a:pPr marL="0" indent="0" algn="l" rtl="0">
              <a:buNone/>
            </a:pPr>
            <a:br>
              <a:rPr lang="el" dirty="0"/>
            </a:br>
            <a:r>
              <a:rPr lang="el" b="0" i="0" u="none" baseline="0" dirty="0"/>
              <a:t>Στοχεύουμε στο ανώτερο μισό της αγοράς, με μια premium μονάδα που χαρακτηρίζεται από χαμηλό TCO και άνεση για τον πελάτη: </a:t>
            </a:r>
            <a:br>
              <a:rPr lang="el" dirty="0"/>
            </a:br>
            <a:r>
              <a:rPr lang="el" b="0" i="0" u="none" baseline="0" dirty="0"/>
              <a:t>Αθόρυβη ισχύς - σχεδιασμένο για μεγάλη διάρκεια ζωής.</a:t>
            </a:r>
          </a:p>
          <a:p>
            <a:pPr marL="0" indent="0" algn="l" rtl="0">
              <a:buNone/>
            </a:pPr>
            <a:endParaRPr lang="el" noProof="0" dirty="0"/>
          </a:p>
          <a:p>
            <a:pPr marL="0" indent="0" algn="l" rtl="0">
              <a:buNone/>
            </a:pPr>
            <a:r>
              <a:rPr lang="el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VP700</a:t>
            </a:r>
          </a:p>
          <a:p>
            <a:pPr marL="201168" lvl="1" indent="-201168" algn="l" rtl="0">
              <a:buFont typeface="Arial" panose="020B0604020202020204" pitchFamily="34" charset="0"/>
              <a:buChar char="•"/>
            </a:pPr>
            <a:r>
              <a:rPr lang="el" sz="1200" b="0" i="0" u="none" baseline="0" dirty="0"/>
              <a:t>Εξαιρετικά αθόρυβη, αλλά κορυφαία απόδοση</a:t>
            </a:r>
          </a:p>
          <a:p>
            <a:pPr marL="201168" lvl="1" indent="-201168" algn="l" rtl="0">
              <a:buFont typeface="Arial" panose="020B0604020202020204" pitchFamily="34" charset="0"/>
              <a:buChar char="•"/>
            </a:pPr>
            <a:r>
              <a:rPr lang="el" sz="1200" b="0" i="0" u="none" baseline="0" dirty="0"/>
              <a:t>Κατατάσσεται μεταξύ των καλύτερων τιμών χωρητικότητας πλήρωσης στην αγορά (σε σύγκριση με το μέγεθος - και ακόμα σχετικά συμπαγές και λεπτό) - αυξάνει την παραγωγικότητα και μειώνει τον χρόνο παραμονής εκτός λειτουργίας (TCO)</a:t>
            </a:r>
          </a:p>
          <a:p>
            <a:pPr marL="201168" lvl="1" indent="-201168" algn="l" rtl="0">
              <a:buFont typeface="Arial" panose="020B0604020202020204" pitchFamily="34" charset="0"/>
              <a:buChar char="•"/>
            </a:pPr>
            <a:r>
              <a:rPr lang="el" sz="1200" b="0" i="0" u="none" baseline="0" dirty="0"/>
              <a:t>Αξιοπιστία και ανθεκτικότητα - Το εξαιρετικό φιλτράρισμα και το μέγεθος XL του προφίλτρου σάκου διασφαλίζουν τη διατήρηση της απόδοσης για πολύ μεγάλο χρονικό διάστημα. Και επίσης με ένα αποδοτικό μοτέρ μεγάλης διάρκειας ζωής</a:t>
            </a:r>
          </a:p>
          <a:p>
            <a:pPr marL="201168" lvl="1" indent="-201168" algn="l" rtl="0">
              <a:buFont typeface="Arial" panose="020B0604020202020204" pitchFamily="34" charset="0"/>
              <a:buChar char="•"/>
            </a:pPr>
            <a:r>
              <a:rPr lang="el" sz="1200" b="0" i="0" u="none" baseline="0" dirty="0"/>
              <a:t>Απρόσκοπτη δυνατότητα ελιγμών με μεγάλους πίσω τροχούς σε άξονες από χάλυβα 2K - Χωρίς εξαρτήματα συγκράτησης</a:t>
            </a:r>
          </a:p>
          <a:p>
            <a:pPr marL="0" indent="0" algn="l" rtl="0">
              <a:buNone/>
            </a:pPr>
            <a:endParaRPr lang="el" sz="1200" noProof="0" dirty="0"/>
          </a:p>
          <a:p>
            <a:pPr marL="0" indent="0" algn="l" rtl="0">
              <a:buNone/>
            </a:pPr>
            <a:r>
              <a:rPr lang="el" b="0" i="0" u="none" baseline="0" dirty="0"/>
              <a:t>Ποιότητα και αποτελεσματικότητα σε υψηλό επίπεδο - μαζί με την εξαιρετική παραγωγικότητα, ουσιαστικά ολοκληρώνει τη σειρά με τις επαγγελματικές συμπαγείς απορροφητικές σκούπες στερεών της Nilfisk.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A59F8699-8433-850D-D25D-7634D43907C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06E7C5C-B62F-E03E-E900-125EC313A0B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4</a:t>
            </a:fld>
            <a:endParaRPr lang="el" noProof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43050B1-6E5E-4152-1FCC-998D542925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VP700</a:t>
            </a: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989E5720-DF3E-B253-C2E9-B70BC2177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1 | Υπόβαθρο </a:t>
            </a:r>
          </a:p>
        </p:txBody>
      </p:sp>
    </p:spTree>
    <p:extLst>
      <p:ext uri="{BB962C8B-B14F-4D97-AF65-F5344CB8AC3E}">
        <p14:creationId xmlns:p14="http://schemas.microsoft.com/office/powerpoint/2010/main" val="3420999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4D2045-F444-16BF-E961-2CA667B7F19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C15F58-55E9-E571-D04E-35E85CB98E7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5</a:t>
            </a:fld>
            <a:endParaRPr lang="el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76BC54-D938-073B-6AEB-3100A3009C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Στρατηγική επαγγελματικών χρωμάτων επόμενης γενιάς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CB776BC-D34D-9299-88C6-D3E7D13FA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1 | Υπόβαθρο - Επωνυμία και σχεδίαση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EEBB2DD-4402-865E-74A3-0A1EDB7268EF}"/>
              </a:ext>
            </a:extLst>
          </p:cNvPr>
          <p:cNvGrpSpPr/>
          <p:nvPr/>
        </p:nvGrpSpPr>
        <p:grpSpPr>
          <a:xfrm>
            <a:off x="571715" y="2930954"/>
            <a:ext cx="732916" cy="968740"/>
            <a:chOff x="571715" y="2789281"/>
            <a:chExt cx="732916" cy="968740"/>
          </a:xfrm>
        </p:grpSpPr>
        <p:sp>
          <p:nvSpPr>
            <p:cNvPr id="11" name="Rounded Rectangle 57">
              <a:extLst>
                <a:ext uri="{FF2B5EF4-FFF2-40B4-BE49-F238E27FC236}">
                  <a16:creationId xmlns:a16="http://schemas.microsoft.com/office/drawing/2014/main" id="{C0417599-2B19-7D69-84E8-FC3D46B1F6C8}"/>
                </a:ext>
              </a:extLst>
            </p:cNvPr>
            <p:cNvSpPr/>
            <p:nvPr/>
          </p:nvSpPr>
          <p:spPr>
            <a:xfrm>
              <a:off x="571715" y="2789281"/>
              <a:ext cx="341595" cy="968740"/>
            </a:xfrm>
            <a:prstGeom prst="round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2" name="Rounded Rectangle 58">
              <a:extLst>
                <a:ext uri="{FF2B5EF4-FFF2-40B4-BE49-F238E27FC236}">
                  <a16:creationId xmlns:a16="http://schemas.microsoft.com/office/drawing/2014/main" id="{066E97F8-898A-D717-0E46-04931E85479F}"/>
                </a:ext>
              </a:extLst>
            </p:cNvPr>
            <p:cNvSpPr/>
            <p:nvPr/>
          </p:nvSpPr>
          <p:spPr>
            <a:xfrm>
              <a:off x="963036" y="2789281"/>
              <a:ext cx="341595" cy="141426"/>
            </a:xfrm>
            <a:prstGeom prst="round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3" name="Rounded Rectangle 59">
              <a:extLst>
                <a:ext uri="{FF2B5EF4-FFF2-40B4-BE49-F238E27FC236}">
                  <a16:creationId xmlns:a16="http://schemas.microsoft.com/office/drawing/2014/main" id="{33A82FB4-8E06-84D2-C5BE-4F1FFC3BA504}"/>
                </a:ext>
              </a:extLst>
            </p:cNvPr>
            <p:cNvSpPr/>
            <p:nvPr/>
          </p:nvSpPr>
          <p:spPr>
            <a:xfrm>
              <a:off x="965963" y="2982337"/>
              <a:ext cx="225159" cy="141426"/>
            </a:xfrm>
            <a:prstGeom prst="round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4" name="Rounded Rectangle 60">
              <a:extLst>
                <a:ext uri="{FF2B5EF4-FFF2-40B4-BE49-F238E27FC236}">
                  <a16:creationId xmlns:a16="http://schemas.microsoft.com/office/drawing/2014/main" id="{C69C31E1-F4F7-CF59-A562-426746A1B7D8}"/>
                </a:ext>
              </a:extLst>
            </p:cNvPr>
            <p:cNvSpPr/>
            <p:nvPr/>
          </p:nvSpPr>
          <p:spPr>
            <a:xfrm>
              <a:off x="971422" y="3180968"/>
              <a:ext cx="87111" cy="141426"/>
            </a:xfrm>
            <a:prstGeom prst="round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F3D3CD6E-AAD7-B716-6553-3CBED32BCE57}"/>
              </a:ext>
            </a:extLst>
          </p:cNvPr>
          <p:cNvSpPr txBox="1"/>
          <p:nvPr/>
        </p:nvSpPr>
        <p:spPr>
          <a:xfrm>
            <a:off x="475521" y="2632511"/>
            <a:ext cx="171141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" sz="8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Χρώματα προϊόντων και αναλογίες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850DADB-55BD-F8CC-4956-D8923429150F}"/>
              </a:ext>
            </a:extLst>
          </p:cNvPr>
          <p:cNvGrpSpPr/>
          <p:nvPr/>
        </p:nvGrpSpPr>
        <p:grpSpPr>
          <a:xfrm>
            <a:off x="484969" y="4169353"/>
            <a:ext cx="1983111" cy="1377838"/>
            <a:chOff x="484969" y="4099329"/>
            <a:chExt cx="1983111" cy="1377838"/>
          </a:xfrm>
        </p:grpSpPr>
        <p:pic>
          <p:nvPicPr>
            <p:cNvPr id="17" name="Picture 16" descr="A picture containing control panel&#10;&#10;Description automatically generated">
              <a:extLst>
                <a:ext uri="{FF2B5EF4-FFF2-40B4-BE49-F238E27FC236}">
                  <a16:creationId xmlns:a16="http://schemas.microsoft.com/office/drawing/2014/main" id="{9BC17942-A0A8-D8A1-6115-307F46703F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4969" y="4099329"/>
              <a:ext cx="1133542" cy="1107716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E42EF27D-5EAB-6A8C-06F2-3BAF3E7D5A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21053" y="4216053"/>
              <a:ext cx="1447027" cy="1261114"/>
            </a:xfrm>
            <a:prstGeom prst="rect">
              <a:avLst/>
            </a:prstGeom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4F80D019-088A-89AA-1918-F3FB467D3E30}"/>
              </a:ext>
            </a:extLst>
          </p:cNvPr>
          <p:cNvSpPr/>
          <p:nvPr/>
        </p:nvSpPr>
        <p:spPr>
          <a:xfrm>
            <a:off x="8709660" y="1464614"/>
            <a:ext cx="2976648" cy="11034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Κύριο χρώμα σώματος προϊόντος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" sz="8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Αυτό είναι το κύριο χρώμα προϊόντος που πρέπει να χρησιμοποιείται σε όλα τα </a:t>
            </a:r>
            <a:br>
              <a:rPr kumimoji="0" lang="el" sz="8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</a:br>
            <a:r>
              <a:rPr kumimoji="0" lang="el" sz="8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κύρια εξαρτήματα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357A33-9108-C790-E748-7C33D774329F}"/>
              </a:ext>
            </a:extLst>
          </p:cNvPr>
          <p:cNvSpPr/>
          <p:nvPr/>
        </p:nvSpPr>
        <p:spPr>
          <a:xfrm>
            <a:off x="8709660" y="4968306"/>
            <a:ext cx="2976648" cy="11034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Χρώμα για ασφάλεια / σέρβις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" sz="800" b="0" i="0" u="none" baseline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Όλα τα μ</a:t>
            </a:r>
            <a:r>
              <a:rPr kumimoji="0" lang="el" sz="8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έρη με αυτό το χρώμα υποδεικνύουν στοιχεία ασφαλείας </a:t>
            </a:r>
            <a:br>
              <a:rPr kumimoji="0" lang="el" sz="8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</a:br>
            <a:r>
              <a:rPr kumimoji="0" lang="el" sz="8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(π.χ. καλώδια φόρτισης, κουμπιά αναστροφής) και σημεία σέρβις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24EFA07-BDF2-1E22-E5D4-CC1C20932C2C}"/>
              </a:ext>
            </a:extLst>
          </p:cNvPr>
          <p:cNvSpPr/>
          <p:nvPr/>
        </p:nvSpPr>
        <p:spPr>
          <a:xfrm>
            <a:off x="8709660" y="3800408"/>
            <a:ext cx="2976648" cy="11034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Χρώμα χειρισμού σημείων αφής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" sz="8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Διακόπτες, κουμπιά, καπάκια, λαβές. Κάθε μέρος με αυτό το χρώμα προορίζεται για την αλληλεπίδραση, με σκοπό τον αποτελεσματικό χειρισμό του μηχανήματος.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0C9860D-9CAE-CCAA-2AB1-5E8AA8D1B9B9}"/>
              </a:ext>
            </a:extLst>
          </p:cNvPr>
          <p:cNvSpPr/>
          <p:nvPr/>
        </p:nvSpPr>
        <p:spPr>
          <a:xfrm>
            <a:off x="8709660" y="2632511"/>
            <a:ext cx="2976648" cy="11034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Χρώμα για εργονομία / χαρακτηριστικά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" sz="8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Ένα χρώμα που τονίζει τις εργονομικές περιοχές (π.χ. λαβή) και τα ειδικά χαρακτηριστικά και USP του προϊόντος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1ABEBFA-0CB0-9C38-B17C-B6C0F2E3C171}"/>
              </a:ext>
            </a:extLst>
          </p:cNvPr>
          <p:cNvSpPr txBox="1"/>
          <p:nvPr/>
        </p:nvSpPr>
        <p:spPr>
          <a:xfrm>
            <a:off x="3630938" y="5351899"/>
            <a:ext cx="3219442" cy="6322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lnSpc>
                <a:spcPct val="120000"/>
              </a:lnSpc>
            </a:pP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Η νέα επαγγελματική παλέτα CMF έχει ερευνηθεί, αναπτυχθεί και δοκιμαστεί εκτεταμένα - υποστηρίζει τη διαισθητική χρηστικότητα.</a:t>
            </a:r>
            <a:endParaRPr lang="el" sz="1000" noProof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A205A3-5151-A9D9-F302-0F9DFD7D5355}"/>
              </a:ext>
            </a:extLst>
          </p:cNvPr>
          <p:cNvSpPr txBox="1"/>
          <p:nvPr/>
        </p:nvSpPr>
        <p:spPr>
          <a:xfrm>
            <a:off x="2854424" y="1792821"/>
            <a:ext cx="49713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rtl="0">
              <a:buNone/>
            </a:pPr>
            <a:r>
              <a:rPr lang="el" sz="1800" b="0" i="0" u="none" baseline="0">
                <a:latin typeface="+mj-lt"/>
                <a:ea typeface="+mj-lt"/>
                <a:cs typeface="+mj-lt"/>
              </a:rPr>
              <a:t>Νέα επαγγελματικά (PBLS) </a:t>
            </a:r>
          </a:p>
        </p:txBody>
      </p:sp>
      <p:pic>
        <p:nvPicPr>
          <p:cNvPr id="25" name="Picture 24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FDB4B7D4-7F66-7F65-71E1-D7810F751C8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6993" y="2499241"/>
            <a:ext cx="2681474" cy="3057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056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AB4DDE-EE97-3AC0-0B7D-20D33D9E15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5156D3-6542-66AD-A4C9-2727C6DAC3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Ατζέντα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B47046-2827-02F8-7D5D-906744C7F40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Υπόβαθρο και VP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A07C6B-AD43-5DB5-86C1-080C5E1DBEC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68167" y="2317509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 dirty="0"/>
              <a:t>Το νέο VP700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CAF1521-6C43-3A44-39C8-1F39EE548C22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66390" y="3256859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 dirty="0">
                <a:solidFill>
                  <a:schemeClr val="bg2"/>
                </a:solidFill>
              </a:rPr>
              <a:t>Κυριότερα σημεία πώλησης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0D4F8F0-53F1-9AED-B56E-C79A8913161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6390" y="4194725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Άλλο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E1D59E-191D-A88E-C0B1-9E79C068EBF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l" b="1" i="0" u="none" baseline="0"/>
              <a:t>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4950A2E-3128-70F7-F13D-61E3463FB18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17600" y="2317509"/>
            <a:ext cx="698400" cy="698238"/>
          </a:xfr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n-US" dirty="0"/>
              <a:t>2</a:t>
            </a:r>
            <a:endParaRPr lang="el" b="1" i="0" u="none" baseline="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AA1E4E9-BEE6-725E-EB6A-9E79706ACB7F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115823" y="3256859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n-US" dirty="0"/>
              <a:t>3</a:t>
            </a:r>
            <a:endParaRPr lang="el" b="1" i="0" u="none" baseline="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55FA706-4544-83D6-401E-A768CDE40C5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115823" y="419472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n-US" dirty="0"/>
              <a:t>4</a:t>
            </a:r>
            <a:endParaRPr lang="el" b="1" i="0" u="none" baseline="0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CC11619-6394-E1DA-5BED-59E3860954A3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484FAD71-4EC7-9FE6-2C18-2B9EABA8021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6</a:t>
            </a:fld>
            <a:endParaRPr lang="el" noProof="0"/>
          </a:p>
        </p:txBody>
      </p:sp>
      <p:pic>
        <p:nvPicPr>
          <p:cNvPr id="23" name="Picture Placeholder 22">
            <a:extLst>
              <a:ext uri="{FF2B5EF4-FFF2-40B4-BE49-F238E27FC236}">
                <a16:creationId xmlns:a16="http://schemas.microsoft.com/office/drawing/2014/main" id="{BD0AC7BA-5E81-7B6E-E221-EEA1A379043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9718" y="0"/>
            <a:ext cx="5262281" cy="6273800"/>
          </a:xfrm>
        </p:spPr>
      </p:pic>
    </p:spTree>
    <p:extLst>
      <p:ext uri="{BB962C8B-B14F-4D97-AF65-F5344CB8AC3E}">
        <p14:creationId xmlns:p14="http://schemas.microsoft.com/office/powerpoint/2010/main" val="4031914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48E3F41-A944-5849-3195-62F42A5071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4B14E8F-41EE-3674-7186-162F83F10AC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7</a:t>
            </a:fld>
            <a:endParaRPr lang="el" noProof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BE8D9DD-AAB9-AE08-2775-BDF538FE79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Παραγωγική, μεγάλης δυναμικότητας, μεγάλης διάρκειας ζωής επαγγελματική απορροφητική σκούπα με δοχείο στερεών</a:t>
            </a: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88E0CCD0-E0A5-9CD1-7846-40D9D75FC5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dirty="0"/>
              <a:t>2</a:t>
            </a:r>
            <a:r>
              <a:rPr lang="el" b="1" i="0" u="none" baseline="0" dirty="0"/>
              <a:t> | Το νέο VP700</a:t>
            </a:r>
            <a:r>
              <a:rPr lang="el" b="0" i="0" u="none" baseline="0" dirty="0"/>
              <a:t>	</a:t>
            </a:r>
          </a:p>
        </p:txBody>
      </p:sp>
      <p:pic>
        <p:nvPicPr>
          <p:cNvPr id="24" name="Picture 23" descr="A grey plastic container with a orange cord and blue tape&#10;&#10;AI-generated content may be incorrect.">
            <a:extLst>
              <a:ext uri="{FF2B5EF4-FFF2-40B4-BE49-F238E27FC236}">
                <a16:creationId xmlns:a16="http://schemas.microsoft.com/office/drawing/2014/main" id="{B0EF12CC-0C6A-C4CC-9D08-41A78DDDDCA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6022" y="1800995"/>
            <a:ext cx="3993926" cy="4816610"/>
          </a:xfrm>
          <a:prstGeom prst="rect">
            <a:avLst/>
          </a:prstGeom>
        </p:spPr>
      </p:pic>
      <p:pic>
        <p:nvPicPr>
          <p:cNvPr id="25" name="Picture 24" descr="A grey and orange vacuum cleaner&#10;&#10;AI-generated content may be incorrect.">
            <a:extLst>
              <a:ext uri="{FF2B5EF4-FFF2-40B4-BE49-F238E27FC236}">
                <a16:creationId xmlns:a16="http://schemas.microsoft.com/office/drawing/2014/main" id="{6F2CD3C3-B0B9-E171-DCFF-1C2A0209F1F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800995"/>
            <a:ext cx="3622810" cy="4816610"/>
          </a:xfrm>
          <a:prstGeom prst="rect">
            <a:avLst/>
          </a:prstGeom>
        </p:spPr>
      </p:pic>
      <p:pic>
        <p:nvPicPr>
          <p:cNvPr id="26" name="Picture 25" descr="A grey vacuum cleaner with orange cord&#10;&#10;AI-generated content may be incorrect.">
            <a:extLst>
              <a:ext uri="{FF2B5EF4-FFF2-40B4-BE49-F238E27FC236}">
                <a16:creationId xmlns:a16="http://schemas.microsoft.com/office/drawing/2014/main" id="{2B81C51A-411F-5B38-816B-30063AE02CF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5979" y="1970182"/>
            <a:ext cx="4478236" cy="4478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823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3EC8171-1F87-B6C5-EAA5-A727B50991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134221"/>
            <a:ext cx="5507038" cy="4870450"/>
          </a:xfrm>
        </p:spPr>
        <p:txBody>
          <a:bodyPr/>
          <a:lstStyle/>
          <a:p>
            <a:pPr marL="144000" marR="0" lvl="0" indent="-1440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Roboto Light"/>
                <a:cs typeface="Roboto Light"/>
              </a:rPr>
              <a:t>Βελτιωμένη συντηρησιμότητα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Αποσπώμενο καλώδιο ως στάνταρ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Απλοποιημένη δομή προφίλτρου</a:t>
            </a: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l" sz="1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Bold"/>
              <a:ea typeface="Roboto Light"/>
              <a:cs typeface="+mn-cs"/>
            </a:endParaRPr>
          </a:p>
          <a:p>
            <a:pPr marL="144000" marR="0" lvl="0" indent="-144000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Roboto Light"/>
                <a:cs typeface="+mn-cs"/>
              </a:rPr>
              <a:t>Απόδοση/Αποδοτικότητα/Αντοχή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Μείωση της κατανάλωσης ενέργειας κατά σχεδόν 10%, αλλά διατήρηση και ελαφρά βελτίωση της υψηλής απόδοσης καθαρισμού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Μεταξύ των καλύτερων επιπέδων θορύβου στην αγορά, μείωση κατά 4 dB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Διατήρηση του εξαιρετικά μεγάλου προφίλτρου με σακούλας υψηλού βαθμού φιλτραρίσματος, μαζί με υψηλή καθαρή χωρητικότητα πλήρωσης</a:t>
            </a:r>
          </a:p>
          <a:p>
            <a:pPr marL="398209" marR="0" lvl="1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l" sz="1000" b="0" i="1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Ένα από τα καλύτερα στην αγορά σε αυτό το μέγεθος, διατήρηση της υψηλής απόδοσης καθαρισμού</a:t>
            </a:r>
            <a:br>
              <a:rPr kumimoji="0" lang="el" sz="1000" b="0" i="1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</a:br>
            <a:endParaRPr kumimoji="0" lang="el" sz="1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144000" marR="0" lvl="0" indent="-144000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Roboto Light"/>
                <a:cs typeface="+mn-cs"/>
              </a:rPr>
              <a:t>Ενισχυμένο UX/Ευκολία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Μειωμένο βάρος εύκολα (περ. 100g)</a:t>
            </a:r>
            <a:endParaRPr kumimoji="0" lang="el" sz="1000" b="0" i="0" u="sng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Εργονομικά σχεδιασμένα σημεία αφής (λαβή, λυγισμένο άκρο, μάνδαλο)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Νέα/απλοποιημένη δομή προφίλτρου και ασφάλισης - πιο εύκολη χρήση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Ενισχυμένη κύλιση - σας ακολουθεί καλύτερα και από έναν καλά εκπαιδευμένο σκύλο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Μεγάλος, ανθεκτικός ποδοδιακόπτης ισχύος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Επισημασμένα σημεία αφής σε όλο το μήκος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Ευκολότερη πρόσβαση στην περιοχή σέρβις/κύριου φίλτρου (βελτίωση ανοχών και περιστρεφόμενου κουμπιού)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Οδηγός εικονιδίων και εικόνων (πόρτα κύριου φίλτρου και κεφαλή μοτέρ, προφίλτρο κ.λπ.)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Εύκολη επιδιόρθωση/αντικατάσταση εύκαμπτου σωλήνα </a:t>
            </a:r>
          </a:p>
          <a:p>
            <a:pPr marL="144000" marR="0" lvl="0" indent="-144000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l" sz="1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144000" marR="0" lvl="0" indent="-144000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Roboto Light"/>
                <a:cs typeface="+mn-cs"/>
              </a:rPr>
              <a:t>Νέα μοντέρνα σχεδίαση 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Εμφάνιση που ταιριάζει με την υπόλοιπη οικογένεια κόμπακτ μηχανημάτων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Βελτιωμένο περιεχόμενο συσκευασίας </a:t>
            </a:r>
            <a:r>
              <a:rPr kumimoji="0" lang="el" sz="1000" b="0" i="1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(σημεία πώλησης)</a:t>
            </a:r>
          </a:p>
          <a:p>
            <a:pPr marL="144000" marR="0" lvl="0" indent="-144000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l" sz="1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144000" marR="0" lvl="0" indent="-144000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Roboto Light"/>
                <a:cs typeface="+mn-cs"/>
              </a:rPr>
              <a:t>Κιτ σέρβις/συντήρησης - για ολόκληρη τη σειρά με </a:t>
            </a:r>
            <a:r>
              <a:rPr kumimoji="0" lang="el" sz="1000" b="0" i="0" u="sng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Roboto Light"/>
                <a:cs typeface="+mn-cs"/>
              </a:rPr>
              <a:t>επαγγελματικές</a:t>
            </a: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Roboto Light"/>
                <a:cs typeface="+mn-cs"/>
              </a:rPr>
              <a:t> κόμπακτ απορροφητικές σκούπες με δοχείο στερεών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Light (5 χάρτινες σακούλες, 1 HEPA, 1 φίλτρο μοτέρ)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Plus (20 χάρτινες σακούλες, 1 HEPA, 1 φίλτρο μοτέρ)</a:t>
            </a:r>
            <a:endParaRPr kumimoji="0" lang="el" sz="1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endParaRPr lang="el" noProof="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47FF9E-E260-3D79-EEB6-73287E29D32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146534-7BC0-A18F-2C74-16988E7118A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8</a:t>
            </a:fld>
            <a:endParaRPr lang="el" noProof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45383E-4A8A-FACE-607E-4970DA044C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Σημαντικά στοιχεία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D3B602-21A0-3460-1236-FB00DB85E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dirty="0"/>
              <a:t>2</a:t>
            </a:r>
            <a:r>
              <a:rPr lang="el" b="1" i="0" u="none" baseline="0" dirty="0"/>
              <a:t> | Το νέο VP700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DDE880BE-E66C-F365-0482-794C3002532C}"/>
              </a:ext>
            </a:extLst>
          </p:cNvPr>
          <p:cNvSpPr txBox="1">
            <a:spLocks/>
          </p:cNvSpPr>
          <p:nvPr/>
        </p:nvSpPr>
        <p:spPr>
          <a:xfrm>
            <a:off x="6200774" y="0"/>
            <a:ext cx="5991225" cy="62833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</a:pPr>
            <a:r>
              <a:rPr lang="el" b="0" i="0" u="none" baseline="0"/>
              <a:t> </a:t>
            </a:r>
          </a:p>
        </p:txBody>
      </p:sp>
      <p:pic>
        <p:nvPicPr>
          <p:cNvPr id="11" name="Picture 10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9B0AD197-5288-8FD9-3DA2-C626675AD69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7672" y="1684429"/>
            <a:ext cx="3017428" cy="3334327"/>
          </a:xfrm>
          <a:prstGeom prst="rect">
            <a:avLst/>
          </a:prstGeom>
        </p:spPr>
      </p:pic>
      <p:cxnSp>
        <p:nvCxnSpPr>
          <p:cNvPr id="12" name="Google Shape;117;p28">
            <a:extLst>
              <a:ext uri="{FF2B5EF4-FFF2-40B4-BE49-F238E27FC236}">
                <a16:creationId xmlns:a16="http://schemas.microsoft.com/office/drawing/2014/main" id="{0B088137-F861-6FE9-E4D6-0030D3C31174}"/>
              </a:ext>
            </a:extLst>
          </p:cNvPr>
          <p:cNvCxnSpPr>
            <a:cxnSpLocks/>
          </p:cNvCxnSpPr>
          <p:nvPr/>
        </p:nvCxnSpPr>
        <p:spPr>
          <a:xfrm flipV="1">
            <a:off x="9239995" y="4379522"/>
            <a:ext cx="1296436" cy="508383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13" name="Google Shape;118;p28">
            <a:extLst>
              <a:ext uri="{FF2B5EF4-FFF2-40B4-BE49-F238E27FC236}">
                <a16:creationId xmlns:a16="http://schemas.microsoft.com/office/drawing/2014/main" id="{5852A144-5BC8-BB9B-D1AF-BFD6E215C964}"/>
              </a:ext>
            </a:extLst>
          </p:cNvPr>
          <p:cNvCxnSpPr>
            <a:cxnSpLocks/>
          </p:cNvCxnSpPr>
          <p:nvPr/>
        </p:nvCxnSpPr>
        <p:spPr>
          <a:xfrm>
            <a:off x="10546744" y="1910579"/>
            <a:ext cx="19426" cy="227637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14" name="Google Shape;119;p28">
            <a:extLst>
              <a:ext uri="{FF2B5EF4-FFF2-40B4-BE49-F238E27FC236}">
                <a16:creationId xmlns:a16="http://schemas.microsoft.com/office/drawing/2014/main" id="{24B5CFC5-9B9E-66A9-6CD7-2C132C730326}"/>
              </a:ext>
            </a:extLst>
          </p:cNvPr>
          <p:cNvCxnSpPr>
            <a:cxnSpLocks/>
          </p:cNvCxnSpPr>
          <p:nvPr/>
        </p:nvCxnSpPr>
        <p:spPr>
          <a:xfrm>
            <a:off x="7791436" y="4287543"/>
            <a:ext cx="1214488" cy="600362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15" name="Google Shape;120;p28">
            <a:extLst>
              <a:ext uri="{FF2B5EF4-FFF2-40B4-BE49-F238E27FC236}">
                <a16:creationId xmlns:a16="http://schemas.microsoft.com/office/drawing/2014/main" id="{EC668C0E-3CC3-6663-8E45-35213655CDDF}"/>
              </a:ext>
            </a:extLst>
          </p:cNvPr>
          <p:cNvSpPr/>
          <p:nvPr/>
        </p:nvSpPr>
        <p:spPr>
          <a:xfrm rot="21598889">
            <a:off x="9619016" y="4790248"/>
            <a:ext cx="1467145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420 mm /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6.53 in</a:t>
            </a:r>
          </a:p>
        </p:txBody>
      </p:sp>
      <p:sp>
        <p:nvSpPr>
          <p:cNvPr id="16" name="Google Shape;121;p28">
            <a:extLst>
              <a:ext uri="{FF2B5EF4-FFF2-40B4-BE49-F238E27FC236}">
                <a16:creationId xmlns:a16="http://schemas.microsoft.com/office/drawing/2014/main" id="{721A81D6-3E83-1307-9794-FB048988A313}"/>
              </a:ext>
            </a:extLst>
          </p:cNvPr>
          <p:cNvSpPr/>
          <p:nvPr/>
        </p:nvSpPr>
        <p:spPr>
          <a:xfrm>
            <a:off x="7365706" y="4781952"/>
            <a:ext cx="1147475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00 mm / </a:t>
            </a:r>
            <a:br>
              <a:rPr lang="el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1.81 in</a:t>
            </a:r>
          </a:p>
        </p:txBody>
      </p:sp>
      <p:sp>
        <p:nvSpPr>
          <p:cNvPr id="17" name="Google Shape;122;p28">
            <a:extLst>
              <a:ext uri="{FF2B5EF4-FFF2-40B4-BE49-F238E27FC236}">
                <a16:creationId xmlns:a16="http://schemas.microsoft.com/office/drawing/2014/main" id="{4703AF47-2372-6B36-90C3-E45C95BE949B}"/>
              </a:ext>
            </a:extLst>
          </p:cNvPr>
          <p:cNvSpPr/>
          <p:nvPr/>
        </p:nvSpPr>
        <p:spPr>
          <a:xfrm rot="21598889">
            <a:off x="10659067" y="2887422"/>
            <a:ext cx="1077335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410 mm / </a:t>
            </a:r>
            <a:br>
              <a:rPr lang="el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6.14 in</a:t>
            </a:r>
          </a:p>
        </p:txBody>
      </p:sp>
    </p:spTree>
    <p:extLst>
      <p:ext uri="{BB962C8B-B14F-4D97-AF65-F5344CB8AC3E}">
        <p14:creationId xmlns:p14="http://schemas.microsoft.com/office/powerpoint/2010/main" val="143714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AD2539E-0401-5BF8-7D16-44AF364609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695684" y="664896"/>
            <a:ext cx="2576538" cy="1784135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746EE1-1EA0-2FDC-5BF7-3DAC536FA31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32787F-F33C-6C59-AF7F-D67C591C8D5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9</a:t>
            </a:fld>
            <a:endParaRPr lang="el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BDA3D-0F55-C212-4E6B-D9C025A8F28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Τεχνικά χαρακτηριστικά: Νέο vs παλιό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234CCAF-19E0-05BF-38EE-2656C0633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520" y="485864"/>
            <a:ext cx="11233150" cy="388013"/>
          </a:xfrm>
        </p:spPr>
        <p:txBody>
          <a:bodyPr/>
          <a:lstStyle/>
          <a:p>
            <a:pPr algn="l" rtl="0"/>
            <a:r>
              <a:rPr lang="en-US" dirty="0"/>
              <a:t>2</a:t>
            </a:r>
            <a:r>
              <a:rPr lang="el" b="1" i="0" u="none" baseline="0" dirty="0"/>
              <a:t> | Το νέο VP700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17F82DB-7EA7-687C-2C5C-2E9E903210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6918098"/>
              </p:ext>
            </p:extLst>
          </p:nvPr>
        </p:nvGraphicFramePr>
        <p:xfrm>
          <a:off x="475520" y="2374710"/>
          <a:ext cx="9652112" cy="3851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29200">
                  <a:extLst>
                    <a:ext uri="{9D8B030D-6E8A-4147-A177-3AD203B41FA5}">
                      <a16:colId xmlns:a16="http://schemas.microsoft.com/office/drawing/2014/main" val="1149769416"/>
                    </a:ext>
                  </a:extLst>
                </a:gridCol>
                <a:gridCol w="530153">
                  <a:extLst>
                    <a:ext uri="{9D8B030D-6E8A-4147-A177-3AD203B41FA5}">
                      <a16:colId xmlns:a16="http://schemas.microsoft.com/office/drawing/2014/main" val="865319334"/>
                    </a:ext>
                  </a:extLst>
                </a:gridCol>
                <a:gridCol w="91440">
                  <a:extLst>
                    <a:ext uri="{9D8B030D-6E8A-4147-A177-3AD203B41FA5}">
                      <a16:colId xmlns:a16="http://schemas.microsoft.com/office/drawing/2014/main" val="3119900109"/>
                    </a:ext>
                  </a:extLst>
                </a:gridCol>
                <a:gridCol w="1912338">
                  <a:extLst>
                    <a:ext uri="{9D8B030D-6E8A-4147-A177-3AD203B41FA5}">
                      <a16:colId xmlns:a16="http://schemas.microsoft.com/office/drawing/2014/main" val="3344722193"/>
                    </a:ext>
                  </a:extLst>
                </a:gridCol>
                <a:gridCol w="91440">
                  <a:extLst>
                    <a:ext uri="{9D8B030D-6E8A-4147-A177-3AD203B41FA5}">
                      <a16:colId xmlns:a16="http://schemas.microsoft.com/office/drawing/2014/main" val="3350642620"/>
                    </a:ext>
                  </a:extLst>
                </a:gridCol>
                <a:gridCol w="1997541">
                  <a:extLst>
                    <a:ext uri="{9D8B030D-6E8A-4147-A177-3AD203B41FA5}">
                      <a16:colId xmlns:a16="http://schemas.microsoft.com/office/drawing/2014/main" val="96259529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 fontAlgn="b"/>
                      <a:endParaRPr lang="el" sz="1000" b="1" i="0" u="none" strike="noStrike" noProof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l" sz="1000" b="1" i="0" u="none" strike="noStrike" noProof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l" sz="1000" b="1" i="0" u="none" strike="noStrike" noProof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200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VP700</a:t>
                      </a:r>
                      <a:endParaRPr lang="el" sz="1200" b="1" i="0" u="none" strike="noStrike" noProof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L w="12700" cmpd="sng">
                      <a:noFill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1000" b="1" i="0" u="none" strike="noStrike" noProof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200" b="1" i="0" u="none" strike="noStrike" baseline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GD1000</a:t>
                      </a:r>
                    </a:p>
                  </a:txBody>
                  <a:tcPr marL="0" marR="0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41832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endParaRPr lang="el" sz="900" b="1" i="0" u="none" strike="noStrike" noProof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R w="12700" cmpd="sng"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l" sz="900" b="1" i="0" u="none" strike="noStrike" noProof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l" sz="900" b="1" i="0" u="none" strike="noStrike" noProof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ΕΕ και AU/NZ</a:t>
                      </a:r>
                      <a:endParaRPr lang="el" sz="900" b="1" i="0" u="none" strike="noStrike" noProof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1" i="0" u="none" strike="noStrike" noProof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ΕΕ</a:t>
                      </a:r>
                    </a:p>
                  </a:txBody>
                  <a:tcPr marL="0" marR="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79126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Ονομαστική ισχύς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/>
                      <a:r>
                        <a:rPr lang="el" sz="9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/>
                      <a:endParaRPr lang="el" sz="900" b="0" i="0" u="none" strike="noStrike" kern="1200" noProof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750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0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91379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Ισχύς αναρρόφησης (άκρο σωλήνα) – αξίωση </a:t>
                      </a:r>
                      <a:r>
                        <a:rPr lang="el" sz="900" b="0" i="0" u="none" strike="noStrike" kern="1200" baseline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δοκιμή</a:t>
                      </a:r>
                      <a:r>
                        <a:rPr lang="el" sz="900" b="0" i="0" u="none" strike="noStrike" baseline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  <a:endParaRPr lang="el" sz="9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/>
                      <a:r>
                        <a:rPr lang="el" sz="9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/>
                      <a:endParaRPr lang="el" sz="900" b="0" i="0" u="none" strike="noStrike" kern="1200" noProof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240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0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45790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Ροή αέρα (άκρο σωλήνα) – αξίωση </a:t>
                      </a:r>
                      <a:r>
                        <a:rPr lang="el" sz="900" b="0" i="0" u="none" strike="noStrike" kern="1200" baseline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δοκιμή</a:t>
                      </a:r>
                      <a:r>
                        <a:rPr lang="el" sz="900" b="0" i="0" u="none" strike="noStrike" baseline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  <a:endParaRPr lang="el" sz="9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/>
                      <a:r>
                        <a:rPr lang="el" sz="9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/s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/>
                      <a:endParaRPr lang="el" sz="900" b="0" i="0" u="none" strike="noStrike" kern="1200" noProof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34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96897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Υποπίεση στο ακροφύσιο - αξίωση</a:t>
                      </a:r>
                      <a:r>
                        <a:rPr lang="el" sz="900" b="0" i="0" u="none" strike="noStrike" kern="1200" baseline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δοκιμή</a:t>
                      </a:r>
                      <a:r>
                        <a:rPr lang="el" sz="900" b="0" i="0" u="none" strike="noStrike" baseline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  <a:endParaRPr lang="el" sz="9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/>
                      <a:r>
                        <a:rPr lang="el" sz="9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Pa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/>
                      <a:endParaRPr lang="el" sz="900" b="0" i="0" u="none" strike="noStrike" kern="1200" noProof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22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,5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1821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Μικτή χωρητικότητα - αξίωση </a:t>
                      </a:r>
                      <a:r>
                        <a:rPr lang="el" sz="900" b="0" i="0" u="none" strike="noStrike" baseline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(δοκιμή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/>
                      <a:r>
                        <a:rPr lang="el" sz="9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/>
                      <a:endParaRPr lang="el" sz="900" b="0" i="0" u="none" strike="noStrike" kern="1200" noProof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5L </a:t>
                      </a:r>
                      <a:r>
                        <a:rPr lang="el" sz="900" b="0" i="0" u="none" strike="noStrike" baseline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(15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Χωρίς επισήμανση πριν </a:t>
                      </a:r>
                      <a:r>
                        <a:rPr lang="el" sz="900" b="0" i="0" u="none" strike="noStrike" kern="1200" baseline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5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09063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Καθαρή χωρητικότητα πλήρωσης (τυπική δοκιμή) - αξίωση, (δοκιμή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900" b="0" i="0" u="none" strike="noStrike" kern="1200" noProof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 (</a:t>
                      </a:r>
                      <a:r>
                        <a:rPr lang="el" sz="900" b="0" i="0" u="none" strike="noStrike" kern="1200" baseline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-10</a:t>
                      </a: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-10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8673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Στάθμη θορύβου (ισχύς/πίεση, LpA - IEC 60335-2-69) - αξίωση </a:t>
                      </a:r>
                      <a:r>
                        <a:rPr lang="el" sz="900" b="0" i="0" u="none" strike="noStrike" kern="1200" baseline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δοκιμή</a:t>
                      </a:r>
                      <a:r>
                        <a:rPr lang="el" sz="900" b="0" i="0" u="none" strike="noStrike" baseline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  <a:endParaRPr lang="el" sz="9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B(A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900" b="0" i="0" u="none" strike="noStrike" kern="1200" noProof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6</a:t>
                      </a:r>
                      <a:r>
                        <a:rPr lang="el" sz="900" b="0" i="0" u="none" strike="noStrike" baseline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(66) </a:t>
                      </a:r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 53 </a:t>
                      </a:r>
                      <a:r>
                        <a:rPr lang="el" sz="900" b="0" i="0" u="none" strike="noStrike" baseline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(53)</a:t>
                      </a:r>
                      <a:endParaRPr lang="el" sz="900" b="0" i="0" u="none" strike="noStrike" kern="1200" noProof="0">
                        <a:solidFill>
                          <a:schemeClr val="accent3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0 / 57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33425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Κύριο φίλτρο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/>
                      <a:endParaRPr lang="el" sz="900" b="0" i="0" u="none" strike="noStrike" kern="1200" noProof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/>
                      <a:endParaRPr lang="el" sz="900" b="0" i="0" u="none" strike="noStrike" kern="1200" noProof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HEPA (όπως σειρά VP300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PA (δικό του μοναδικό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96492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Διαστάσεις (ΜxΠxΥ) 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/>
                      <a:endParaRPr lang="el" sz="900" b="0" i="0" u="none" strike="noStrike" kern="1200" noProof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/>
                      <a:endParaRPr lang="el" sz="900" b="0" i="0" u="none" strike="noStrike" kern="1200" noProof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420x300x410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0x300x420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0791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Βάρος μηχανήματος</a:t>
                      </a:r>
                      <a:endParaRPr lang="el" sz="900" b="0" i="1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/>
                      <a:r>
                        <a:rPr lang="el" sz="9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g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/>
                      <a:endParaRPr lang="el" sz="900" b="0" i="0" u="none" strike="noStrike" kern="1200" noProof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,9</a:t>
                      </a:r>
                      <a:r>
                        <a:rPr lang="el" sz="900" b="0" i="0" u="none" strike="noStrike" baseline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(5,9)</a:t>
                      </a:r>
                      <a:endParaRPr lang="el" sz="900" b="0" i="1" u="none" strike="noStrike" noProof="0">
                        <a:solidFill>
                          <a:schemeClr val="accent3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9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9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7990018"/>
                  </a:ext>
                </a:extLst>
              </a:tr>
            </a:tbl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697B4463-D455-58E0-C21C-EFC4A0D6340F}"/>
              </a:ext>
            </a:extLst>
          </p:cNvPr>
          <p:cNvSpPr/>
          <p:nvPr/>
        </p:nvSpPr>
        <p:spPr>
          <a:xfrm>
            <a:off x="8081914" y="453325"/>
            <a:ext cx="2119846" cy="5820475"/>
          </a:xfrm>
          <a:prstGeom prst="rect">
            <a:avLst/>
          </a:prstGeom>
          <a:solidFill>
            <a:schemeClr val="bg2">
              <a:lumMod val="20000"/>
              <a:lumOff val="80000"/>
              <a:alpha val="3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l" sz="2000" noProof="0">
              <a:solidFill>
                <a:schemeClr val="tx1"/>
              </a:solidFill>
            </a:endParaRPr>
          </a:p>
        </p:txBody>
      </p:sp>
      <p:pic>
        <p:nvPicPr>
          <p:cNvPr id="6" name="Picture 10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C6BDFEAB-BD35-6AB0-5A9C-0D0B3AD22F4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153" y="575189"/>
            <a:ext cx="1792442" cy="1974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077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a261087-ddb5-4fc3-ae00-ca27a6304815" xsi:nil="true"/>
    <lcf76f155ced4ddcb4097134ff3c332f xmlns="101d09d1-2fba-4d93-a45c-1211151ee786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32B75B72E9AD4B897284067DA3336A" ma:contentTypeVersion="14" ma:contentTypeDescription="Create a new document." ma:contentTypeScope="" ma:versionID="6492b7c3e85f5c14b0d1f8f0eca4bce4">
  <xsd:schema xmlns:xsd="http://www.w3.org/2001/XMLSchema" xmlns:xs="http://www.w3.org/2001/XMLSchema" xmlns:p="http://schemas.microsoft.com/office/2006/metadata/properties" xmlns:ns2="101d09d1-2fba-4d93-a45c-1211151ee786" xmlns:ns3="9a261087-ddb5-4fc3-ae00-ca27a6304815" targetNamespace="http://schemas.microsoft.com/office/2006/metadata/properties" ma:root="true" ma:fieldsID="235f7f4da562ffff761aabfec7130868" ns2:_="" ns3:_="">
    <xsd:import namespace="101d09d1-2fba-4d93-a45c-1211151ee786"/>
    <xsd:import namespace="9a261087-ddb5-4fc3-ae00-ca27a63048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LengthInSeconds" minOccurs="0"/>
                <xsd:element ref="ns2:MediaServiceBillingMetadata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1d09d1-2fba-4d93-a45c-1211151ee7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261087-ddb5-4fc3-ae00-ca27a6304815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70acf073-156a-45c2-8748-f00f6b029fee}" ma:internalName="TaxCatchAll" ma:showField="CatchAllData" ma:web="9a261087-ddb5-4fc3-ae00-ca27a63048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035D97F-54F6-4139-90B1-4BC360E16E53}">
  <ds:schemaRefs>
    <ds:schemaRef ds:uri="101d09d1-2fba-4d93-a45c-1211151ee786"/>
    <ds:schemaRef ds:uri="9a261087-ddb5-4fc3-ae00-ca27a630481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A8B2294-BAC5-463D-9F8A-81853078D495}">
  <ds:schemaRefs>
    <ds:schemaRef ds:uri="101d09d1-2fba-4d93-a45c-1211151ee786"/>
    <ds:schemaRef ds:uri="9a261087-ddb5-4fc3-ae00-ca27a630481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113_0073_18462_VP700_2025_PPT_16x9_V1_EN-MASTER</Template>
  <TotalTime>93</TotalTime>
  <Words>3210</Words>
  <Application>Microsoft Office PowerPoint</Application>
  <PresentationFormat>Widescreen</PresentationFormat>
  <Paragraphs>1016</Paragraphs>
  <Slides>2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8" baseType="lpstr">
      <vt:lpstr>Arial</vt:lpstr>
      <vt:lpstr>Calibri</vt:lpstr>
      <vt:lpstr>Courier New</vt:lpstr>
      <vt:lpstr>Poppins</vt:lpstr>
      <vt:lpstr>Roboto</vt:lpstr>
      <vt:lpstr>Roboto Black</vt:lpstr>
      <vt:lpstr>Roboto Bold</vt:lpstr>
      <vt:lpstr>Roboto Light</vt:lpstr>
      <vt:lpstr>Roboto Light italic</vt:lpstr>
      <vt:lpstr>Roboto Medium</vt:lpstr>
      <vt:lpstr>Wingdings</vt:lpstr>
      <vt:lpstr>Nilfisk Toolbox_Standard_4-3</vt:lpstr>
      <vt:lpstr>think-cell Slide</vt:lpstr>
      <vt:lpstr>Nilfisk VP700 Επαγγελματικές απορροφητικές σκούπες στερεών </vt:lpstr>
      <vt:lpstr>Ατζέντα</vt:lpstr>
      <vt:lpstr>Ατζέντα</vt:lpstr>
      <vt:lpstr>1 | Υπόβαθρο </vt:lpstr>
      <vt:lpstr>1 | Υπόβαθρο - Επωνυμία και σχεδίαση</vt:lpstr>
      <vt:lpstr>Ατζέντα</vt:lpstr>
      <vt:lpstr>2 | Το νέο VP700 </vt:lpstr>
      <vt:lpstr>2 | Το νέο VP700</vt:lpstr>
      <vt:lpstr>2 | Το νέο VP700</vt:lpstr>
      <vt:lpstr>2 | Τεχνικές προδιαγραφές VP700</vt:lpstr>
      <vt:lpstr>2 | Τεχνικές προδιαγραφές VP700</vt:lpstr>
      <vt:lpstr>2 | Το νέο VP700</vt:lpstr>
      <vt:lpstr>Ατζέντα</vt:lpstr>
      <vt:lpstr>3 | Χαρακτηριστικά του VP700</vt:lpstr>
      <vt:lpstr>3 | Χαρακτηριστικά του VP700</vt:lpstr>
      <vt:lpstr>3 | Χαρακτηριστικά του VP700</vt:lpstr>
      <vt:lpstr>3 | Χαρακτηριστικά του VP700</vt:lpstr>
      <vt:lpstr>3 | Χαρακτηριστικά του VP700</vt:lpstr>
      <vt:lpstr>3 | Χαρακτηριστικά του VP700</vt:lpstr>
      <vt:lpstr>3 | Χαρακτηριστικά του VP700</vt:lpstr>
      <vt:lpstr>3 | Χαρακτηριστικά του VP700</vt:lpstr>
      <vt:lpstr>Ατζέντα</vt:lpstr>
      <vt:lpstr>4 | Συσκευασία</vt:lpstr>
      <vt:lpstr>4 | Σειρά επαγγελματικών VAC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InBold</dc:creator>
  <cp:lastModifiedBy>Anastasia Droungani</cp:lastModifiedBy>
  <cp:revision>31</cp:revision>
  <dcterms:created xsi:type="dcterms:W3CDTF">2025-09-08T08:45:18Z</dcterms:created>
  <dcterms:modified xsi:type="dcterms:W3CDTF">2025-12-05T11:1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4A32B75B72E9AD4B897284067DA3336A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  <property fmtid="{D5CDD505-2E9C-101B-9397-08002B2CF9AE}" pid="13" name="MediaServiceImageTags">
    <vt:lpwstr/>
  </property>
</Properties>
</file>